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700" r:id="rId2"/>
    <p:sldMasterId id="2147483702" r:id="rId3"/>
    <p:sldMasterId id="2147483712" r:id="rId4"/>
    <p:sldMasterId id="2147483715" r:id="rId5"/>
  </p:sldMasterIdLst>
  <p:notesMasterIdLst>
    <p:notesMasterId r:id="rId34"/>
  </p:notesMasterIdLst>
  <p:sldIdLst>
    <p:sldId id="272" r:id="rId6"/>
    <p:sldId id="266" r:id="rId7"/>
    <p:sldId id="286" r:id="rId8"/>
    <p:sldId id="285" r:id="rId9"/>
    <p:sldId id="287" r:id="rId10"/>
    <p:sldId id="288" r:id="rId11"/>
    <p:sldId id="280" r:id="rId12"/>
    <p:sldId id="257" r:id="rId13"/>
    <p:sldId id="262" r:id="rId14"/>
    <p:sldId id="279" r:id="rId15"/>
    <p:sldId id="263" r:id="rId16"/>
    <p:sldId id="289" r:id="rId17"/>
    <p:sldId id="264" r:id="rId18"/>
    <p:sldId id="290" r:id="rId19"/>
    <p:sldId id="261" r:id="rId20"/>
    <p:sldId id="291" r:id="rId21"/>
    <p:sldId id="292" r:id="rId22"/>
    <p:sldId id="265" r:id="rId23"/>
    <p:sldId id="293" r:id="rId24"/>
    <p:sldId id="283" r:id="rId25"/>
    <p:sldId id="267" r:id="rId26"/>
    <p:sldId id="268" r:id="rId27"/>
    <p:sldId id="269" r:id="rId28"/>
    <p:sldId id="295" r:id="rId29"/>
    <p:sldId id="270" r:id="rId30"/>
    <p:sldId id="271" r:id="rId31"/>
    <p:sldId id="294" r:id="rId32"/>
    <p:sldId id="282" r:id="rId33"/>
  </p:sldIdLst>
  <p:sldSz cx="9144000" cy="6858000" type="screen4x3"/>
  <p:notesSz cx="6858000" cy="9144000"/>
  <p:defaultTextStyle>
    <a:defPPr>
      <a:defRPr lang="bg-BG"/>
    </a:defPPr>
    <a:lvl1pPr marL="0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797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593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390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188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983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780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7578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373" algn="l" defTabSz="913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0" d="100"/>
          <a:sy n="110" d="100"/>
        </p:scale>
        <p:origin x="-156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911D96-C037-4F2D-9742-DE019B12262A}" type="datetimeFigureOut">
              <a:rPr lang="en-US" smtClean="0"/>
              <a:t>22-Nov-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4C529A-C7EF-458C-8E70-DF6F640521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267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797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593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390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188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983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780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578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373" algn="l" defTabSz="913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883" indent="-285724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2898" indent="-22858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057" indent="-22858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217" indent="-22858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376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535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8695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5854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BF37FC2-9F2F-41A9-9268-7D9CE6D79868}" type="slidenum">
              <a:rPr lang="de-DE" altLang="de-DE" smtClean="0">
                <a:solidFill>
                  <a:prstClr val="black"/>
                </a:solidFill>
              </a:rPr>
              <a:pPr/>
              <a:t>3</a:t>
            </a:fld>
            <a:endParaRPr lang="de-DE" altLang="de-DE" dirty="0" smtClean="0">
              <a:solidFill>
                <a:prstClr val="black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343401"/>
            <a:ext cx="5484812" cy="4116388"/>
          </a:xfrm>
          <a:noFill/>
        </p:spPr>
        <p:txBody>
          <a:bodyPr/>
          <a:lstStyle/>
          <a:p>
            <a:pPr eaLnBrk="1" hangingPunct="1"/>
            <a:endParaRPr lang="de-AT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297324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F1A01-D678-4616-AFC7-79D2DC526C4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600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883" indent="-285724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2898" indent="-22858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057" indent="-22858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217" indent="-22858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376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535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8695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5854" indent="-22858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BF37FC2-9F2F-41A9-9268-7D9CE6D79868}" type="slidenum">
              <a:rPr lang="de-DE" altLang="de-DE" smtClean="0">
                <a:solidFill>
                  <a:prstClr val="black"/>
                </a:solidFill>
              </a:rPr>
              <a:pPr/>
              <a:t>7</a:t>
            </a:fld>
            <a:endParaRPr lang="de-DE" altLang="de-DE" dirty="0" smtClean="0">
              <a:solidFill>
                <a:prstClr val="black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343401"/>
            <a:ext cx="5484812" cy="4116388"/>
          </a:xfrm>
          <a:noFill/>
        </p:spPr>
        <p:txBody>
          <a:bodyPr/>
          <a:lstStyle/>
          <a:p>
            <a:pPr eaLnBrk="1" hangingPunct="1"/>
            <a:endParaRPr lang="de-AT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3437694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F1A01-D678-4616-AFC7-79D2DC526C4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400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B9832-2CEC-4E31-A12B-4362E8BFC01A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96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2.jpeg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308150" y="1609760"/>
            <a:ext cx="8512770" cy="4921403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 smtClean="0"/>
              <a:t>Bild auf Platzhalter ziehen oder durch Klicken auf Symbol hinzufügen</a:t>
            </a:r>
            <a:endParaRPr lang="de-AT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096839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89654" y="3211648"/>
            <a:ext cx="5319487" cy="753707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489654" y="4136734"/>
            <a:ext cx="5319487" cy="237278"/>
          </a:xfrm>
        </p:spPr>
        <p:txBody>
          <a:bodyPr/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35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1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7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2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8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9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5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TT.MM.YYYY</a:t>
            </a:r>
            <a:endParaRPr lang="en-GB" dirty="0"/>
          </a:p>
        </p:txBody>
      </p:sp>
      <p:sp>
        <p:nvSpPr>
          <p:cNvPr id="4" name="Rechteck 3"/>
          <p:cNvSpPr/>
          <p:nvPr/>
        </p:nvSpPr>
        <p:spPr>
          <a:xfrm>
            <a:off x="8576572" y="6591637"/>
            <a:ext cx="244347" cy="164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21" tIns="40011" rIns="80021" bIns="40011" rtlCol="0" anchor="ctr"/>
          <a:lstStyle/>
          <a:p>
            <a:pPr algn="ctr" defTabSz="871337"/>
            <a:endParaRPr lang="de-AT" sz="1200" dirty="0" err="1" smtClean="0">
              <a:solidFill>
                <a:prstClr val="black"/>
              </a:solidFill>
            </a:endParaRPr>
          </a:p>
        </p:txBody>
      </p:sp>
      <p:pic>
        <p:nvPicPr>
          <p:cNvPr id="11" name="Bild 10" descr="Praesentation_Claim.pdf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8819" y="6012808"/>
            <a:ext cx="1542100" cy="518346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6751976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8576572" y="6591637"/>
            <a:ext cx="244347" cy="164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21" tIns="40011" rIns="80021" bIns="40011" rtlCol="0" anchor="ctr"/>
          <a:lstStyle/>
          <a:p>
            <a:pPr algn="ctr" defTabSz="871337"/>
            <a:endParaRPr lang="de-AT" sz="1200" dirty="0" err="1" smtClean="0">
              <a:solidFill>
                <a:prstClr val="black"/>
              </a:solidFill>
            </a:endParaRPr>
          </a:p>
        </p:txBody>
      </p:sp>
      <p:pic>
        <p:nvPicPr>
          <p:cNvPr id="12" name="Bild 10" descr="Praesentation_Claim.pdf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8819" y="6012808"/>
            <a:ext cx="1542100" cy="51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201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 ohne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580994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1" y="790487"/>
            <a:ext cx="6840562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1" y="2296161"/>
            <a:ext cx="8064500" cy="15120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600"/>
              </a:spcBef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2531" indent="-182531">
              <a:spcBef>
                <a:spcPts val="600"/>
              </a:spcBef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58712" indent="-176182">
              <a:spcBef>
                <a:spcPts val="600"/>
              </a:spcBef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41242" indent="-182531">
              <a:spcBef>
                <a:spcPts val="600"/>
              </a:spcBef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15837" indent="-174594">
              <a:spcBef>
                <a:spcPts val="600"/>
              </a:spcBef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296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l-GR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853615-BFDE-46DE-814C-47EC6EF6D371}" type="datetimeFigureOut">
              <a:rPr lang="el-GR" smtClean="0"/>
              <a:t>22/11/2017</a:t>
            </a:fld>
            <a:endParaRPr lang="el-GR"/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F53439-851E-44AD-84B1-B6BFC3D0C743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779701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4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" descr="Hintergrund ohne screen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-1588" y="3175"/>
            <a:ext cx="91471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15900" y="196929"/>
            <a:ext cx="8704941" cy="1107996"/>
          </a:xfrm>
          <a:noFill/>
          <a:ln>
            <a:noFill/>
          </a:ln>
          <a:effectLst/>
          <a:extLst/>
        </p:spPr>
        <p:txBody>
          <a:bodyPr>
            <a:scene3d>
              <a:camera prst="orthographicFront"/>
              <a:lightRig rig="threePt" dir="t"/>
            </a:scene3d>
            <a:sp3d prstMaterial="metal"/>
          </a:bodyPr>
          <a:lstStyle>
            <a:lvl1pPr>
              <a:defRPr lang="en-GB" sz="3600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lvl="0"/>
            <a:r>
              <a:rPr lang="de-DE" dirty="0" smtClean="0"/>
              <a:t>Titelmasterformat durch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en-GB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223159" y="1665288"/>
            <a:ext cx="8704941" cy="1692771"/>
          </a:xfrm>
          <a:noFill/>
          <a:ln>
            <a:noFill/>
          </a:ln>
          <a:effectLst/>
          <a:extLst/>
        </p:spPr>
        <p:txBody>
          <a:bodyPr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2pPr>
            <a:lvl3pPr marL="361950" indent="-180975"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3pPr>
            <a:lvl4pPr marL="542925" indent="-180975"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4pPr>
            <a:lvl5pPr marL="714375" indent="-171450"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sp>
        <p:nvSpPr>
          <p:cNvPr id="8" name="Rechteck 30"/>
          <p:cNvSpPr/>
          <p:nvPr userDrawn="1"/>
        </p:nvSpPr>
        <p:spPr>
          <a:xfrm>
            <a:off x="8429625" y="187231"/>
            <a:ext cx="498475" cy="536669"/>
          </a:xfrm>
          <a:custGeom>
            <a:avLst/>
            <a:gdLst/>
            <a:ahLst/>
            <a:cxnLst/>
            <a:rect l="l" t="t" r="r" b="b"/>
            <a:pathLst>
              <a:path w="5439770" h="5855856">
                <a:moveTo>
                  <a:pt x="1995057" y="628082"/>
                </a:moveTo>
                <a:lnTo>
                  <a:pt x="1995057" y="2641604"/>
                </a:lnTo>
                <a:lnTo>
                  <a:pt x="3592949" y="2641604"/>
                </a:lnTo>
                <a:cubicBezTo>
                  <a:pt x="4148968" y="2641604"/>
                  <a:pt x="4599710" y="2190862"/>
                  <a:pt x="4599710" y="1634843"/>
                </a:cubicBezTo>
                <a:cubicBezTo>
                  <a:pt x="4599710" y="1078824"/>
                  <a:pt x="4148968" y="628082"/>
                  <a:pt x="3592949" y="628082"/>
                </a:cubicBezTo>
                <a:close/>
                <a:moveTo>
                  <a:pt x="0" y="1"/>
                </a:moveTo>
                <a:lnTo>
                  <a:pt x="692730" y="1"/>
                </a:lnTo>
                <a:lnTo>
                  <a:pt x="692730" y="5237023"/>
                </a:lnTo>
                <a:lnTo>
                  <a:pt x="3835629" y="5237023"/>
                </a:lnTo>
                <a:lnTo>
                  <a:pt x="4098495" y="5855855"/>
                </a:lnTo>
                <a:lnTo>
                  <a:pt x="692730" y="5855855"/>
                </a:lnTo>
                <a:lnTo>
                  <a:pt x="692730" y="5855856"/>
                </a:lnTo>
                <a:lnTo>
                  <a:pt x="0" y="5855856"/>
                </a:lnTo>
                <a:close/>
                <a:moveTo>
                  <a:pt x="1302326" y="0"/>
                </a:moveTo>
                <a:lnTo>
                  <a:pt x="1995055" y="0"/>
                </a:lnTo>
                <a:lnTo>
                  <a:pt x="1995055" y="1"/>
                </a:lnTo>
                <a:lnTo>
                  <a:pt x="3694545" y="1"/>
                </a:lnTo>
                <a:cubicBezTo>
                  <a:pt x="4582137" y="1"/>
                  <a:pt x="5301672" y="719536"/>
                  <a:pt x="5301672" y="1607128"/>
                </a:cubicBezTo>
                <a:cubicBezTo>
                  <a:pt x="5301672" y="2293927"/>
                  <a:pt x="4870863" y="2880105"/>
                  <a:pt x="4264089" y="3108463"/>
                </a:cubicBezTo>
                <a:lnTo>
                  <a:pt x="5439770" y="5855856"/>
                </a:lnTo>
                <a:lnTo>
                  <a:pt x="4712417" y="5855856"/>
                </a:lnTo>
                <a:lnTo>
                  <a:pt x="3582007" y="3214255"/>
                </a:lnTo>
                <a:lnTo>
                  <a:pt x="1995055" y="3214254"/>
                </a:lnTo>
                <a:lnTo>
                  <a:pt x="1995055" y="4701309"/>
                </a:lnTo>
                <a:lnTo>
                  <a:pt x="1302326" y="4701309"/>
                </a:lnTo>
                <a:close/>
              </a:path>
            </a:pathLst>
          </a:custGeom>
          <a:solidFill>
            <a:schemeClr val="bg1">
              <a:alpha val="65000"/>
            </a:schemeClr>
          </a:solidFill>
          <a:ln w="9525">
            <a:noFill/>
          </a:ln>
          <a:effectLst>
            <a:outerShdw blurRad="190500" sx="101000" sy="1010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752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36626" y="2900110"/>
            <a:ext cx="4158424" cy="2852737"/>
          </a:xfrm>
          <a:prstGeom prst="rect">
            <a:avLst/>
          </a:prstGeom>
        </p:spPr>
        <p:txBody>
          <a:bodyPr anchor="b"/>
          <a:lstStyle>
            <a:lvl1pPr>
              <a:defRPr sz="3500" b="1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36627" y="5761164"/>
            <a:ext cx="3877818" cy="63963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119" indent="0" algn="l">
              <a:buFontTx/>
              <a:buNone/>
              <a:defRPr sz="900">
                <a:solidFill>
                  <a:schemeClr val="accent1"/>
                </a:solidFill>
                <a:latin typeface="Open Sans" charset="0"/>
                <a:ea typeface="Open Sans" charset="0"/>
                <a:cs typeface="Open Sans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26" y="0"/>
            <a:ext cx="3517162" cy="1316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13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5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5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5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5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5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546356" y="1236060"/>
            <a:ext cx="8014716" cy="87757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 smtClean="0"/>
              <a:t>Überschrift 1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FDDB0-C79E-A94F-8D8F-D57064DD7436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475289" y="465141"/>
            <a:ext cx="3086100" cy="365125"/>
          </a:xfrm>
        </p:spPr>
        <p:txBody>
          <a:bodyPr anchor="ctr"/>
          <a:lstStyle>
            <a:lvl1pPr algn="r">
              <a:defRPr sz="9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126363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143003"/>
            <a:ext cx="7886700" cy="3915537"/>
          </a:xfrm>
        </p:spPr>
        <p:txBody>
          <a:bodyPr/>
          <a:lstStyle>
            <a:lvl1pPr algn="ctr">
              <a:defRPr sz="6000"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5202936"/>
            <a:ext cx="7886700" cy="88671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695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91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0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8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7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74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6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CD979-DF23-3945-93B1-67CB89068C98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62930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2176274"/>
            <a:ext cx="3867150" cy="3849624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2" y="2176274"/>
            <a:ext cx="3867150" cy="3849624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546356" y="1236060"/>
            <a:ext cx="8014716" cy="87757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 smtClean="0"/>
              <a:t>Überschrift 1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C166B-2825-E948-ABAE-942E26C5F990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329442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6357" y="2212978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46357" y="3036887"/>
            <a:ext cx="3868737" cy="3016441"/>
          </a:xfrm>
        </p:spPr>
        <p:txBody>
          <a:bodyPr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73282" y="2212978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8" indent="0">
              <a:buNone/>
              <a:defRPr sz="2000" b="1"/>
            </a:lvl2pPr>
            <a:lvl3pPr marL="913916" indent="0">
              <a:buNone/>
              <a:defRPr sz="1800" b="1"/>
            </a:lvl3pPr>
            <a:lvl4pPr marL="1370874" indent="0">
              <a:buNone/>
              <a:defRPr sz="1600" b="1"/>
            </a:lvl4pPr>
            <a:lvl5pPr marL="1827832" indent="0">
              <a:buNone/>
              <a:defRPr sz="1600" b="1"/>
            </a:lvl5pPr>
            <a:lvl6pPr marL="2284789" indent="0">
              <a:buNone/>
              <a:defRPr sz="1600" b="1"/>
            </a:lvl6pPr>
            <a:lvl7pPr marL="2741748" indent="0">
              <a:buNone/>
              <a:defRPr sz="1600" b="1"/>
            </a:lvl7pPr>
            <a:lvl8pPr marL="3198706" indent="0">
              <a:buNone/>
              <a:defRPr sz="1600" b="1"/>
            </a:lvl8pPr>
            <a:lvl9pPr marL="3655663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73282" y="3036887"/>
            <a:ext cx="3887788" cy="3016441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546356" y="1236060"/>
            <a:ext cx="8014716" cy="87757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de-DE" dirty="0" smtClean="0"/>
              <a:t>Überschrift 1</a:t>
            </a:r>
            <a:endParaRPr lang="de-DE" dirty="0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DDA1F-CACE-534F-9B03-AA2DDE6A3466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110538" y="6356353"/>
            <a:ext cx="720725" cy="365125"/>
          </a:xfrm>
          <a:prstGeom prst="rect">
            <a:avLst/>
          </a:prstGeom>
        </p:spPr>
        <p:txBody>
          <a:bodyPr lIns="91392" tIns="45696" rIns="91392" bIns="45696"/>
          <a:lstStyle>
            <a:lvl1pPr>
              <a:defRPr/>
            </a:lvl1pPr>
          </a:lstStyle>
          <a:p>
            <a:pPr defTabSz="8013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ACF7ED7-97F6-E94C-B26C-3C0BA36CE958}" type="slidenum">
              <a:rPr lang="de-DE" sz="1600" smtClean="0">
                <a:solidFill>
                  <a:srgbClr val="000000"/>
                </a:solidFill>
              </a:rPr>
              <a:pPr defTabSz="80133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396729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6356" y="1072992"/>
            <a:ext cx="8014716" cy="5090064"/>
          </a:xfrm>
        </p:spPr>
        <p:txBody>
          <a:bodyPr/>
          <a:lstStyle/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EDA4A-07CE-9343-8EB0-7981AE412544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110538" y="6356353"/>
            <a:ext cx="720725" cy="365125"/>
          </a:xfrm>
          <a:prstGeom prst="rect">
            <a:avLst/>
          </a:prstGeom>
        </p:spPr>
        <p:txBody>
          <a:bodyPr lIns="91392" tIns="45696" rIns="91392" bIns="45696"/>
          <a:lstStyle>
            <a:lvl1pPr>
              <a:defRPr/>
            </a:lvl1pPr>
          </a:lstStyle>
          <a:p>
            <a:pPr defTabSz="8013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998E2BB-CF32-B440-8E99-8898ABBAB7C6}" type="slidenum">
              <a:rPr lang="de-DE" sz="1600" smtClean="0">
                <a:solidFill>
                  <a:srgbClr val="000000"/>
                </a:solidFill>
              </a:rPr>
              <a:pPr defTabSz="80133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82547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2"/>
          <p:cNvSpPr>
            <a:spLocks noGrp="1"/>
          </p:cNvSpPr>
          <p:nvPr>
            <p:ph type="pic" idx="1"/>
          </p:nvPr>
        </p:nvSpPr>
        <p:spPr>
          <a:xfrm>
            <a:off x="546356" y="1261872"/>
            <a:ext cx="8014716" cy="426110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58" indent="0">
              <a:buNone/>
              <a:defRPr sz="2800"/>
            </a:lvl2pPr>
            <a:lvl3pPr marL="913916" indent="0">
              <a:buNone/>
              <a:defRPr sz="2400"/>
            </a:lvl3pPr>
            <a:lvl4pPr marL="1370874" indent="0">
              <a:buNone/>
              <a:defRPr sz="2000"/>
            </a:lvl4pPr>
            <a:lvl5pPr marL="1827832" indent="0">
              <a:buNone/>
              <a:defRPr sz="2000"/>
            </a:lvl5pPr>
            <a:lvl6pPr marL="2284789" indent="0">
              <a:buNone/>
              <a:defRPr sz="2000"/>
            </a:lvl6pPr>
            <a:lvl7pPr marL="2741748" indent="0">
              <a:buNone/>
              <a:defRPr sz="2000"/>
            </a:lvl7pPr>
            <a:lvl8pPr marL="3198706" indent="0">
              <a:buNone/>
              <a:defRPr sz="2000"/>
            </a:lvl8pPr>
            <a:lvl9pPr marL="3655663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46BCB3-8AA8-D647-BE73-288FF82C208E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110538" y="6356353"/>
            <a:ext cx="720725" cy="365125"/>
          </a:xfrm>
          <a:prstGeom prst="rect">
            <a:avLst/>
          </a:prstGeom>
        </p:spPr>
        <p:txBody>
          <a:bodyPr lIns="91392" tIns="45696" rIns="91392" bIns="45696"/>
          <a:lstStyle>
            <a:lvl1pPr>
              <a:defRPr/>
            </a:lvl1pPr>
          </a:lstStyle>
          <a:p>
            <a:pPr defTabSz="8013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B68DBC7-A487-6840-8A0F-C2DE41314996}" type="slidenum">
              <a:rPr lang="de-DE" sz="1600" smtClean="0">
                <a:solidFill>
                  <a:srgbClr val="000000"/>
                </a:solidFill>
              </a:rPr>
              <a:pPr defTabSz="80133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55309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1247258" y="6238875"/>
            <a:ext cx="7573664" cy="279151"/>
          </a:xfrm>
        </p:spPr>
        <p:txBody>
          <a:bodyPr anchor="b"/>
          <a:lstStyle>
            <a:lvl1pPr>
              <a:spcBef>
                <a:spcPts val="0"/>
              </a:spcBef>
              <a:defRPr sz="900" b="0"/>
            </a:lvl1pPr>
          </a:lstStyle>
          <a:p>
            <a:pPr lvl="0"/>
            <a:r>
              <a:rPr lang="de-DE" dirty="0" smtClean="0"/>
              <a:t>1 Fußnote</a:t>
            </a:r>
            <a:br>
              <a:rPr lang="de-DE" dirty="0" smtClean="0"/>
            </a:br>
            <a:r>
              <a:rPr lang="de-DE" dirty="0" smtClean="0"/>
              <a:t>Quel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76698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/>
          <p:cNvSpPr txBox="1">
            <a:spLocks/>
          </p:cNvSpPr>
          <p:nvPr/>
        </p:nvSpPr>
        <p:spPr>
          <a:xfrm>
            <a:off x="546100" y="1685925"/>
            <a:ext cx="2949575" cy="376238"/>
          </a:xfrm>
          <a:prstGeom prst="rect">
            <a:avLst/>
          </a:prstGeom>
        </p:spPr>
        <p:txBody>
          <a:bodyPr lIns="91392" tIns="45696" rIns="91392" bIns="45696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kern="1200">
                <a:solidFill>
                  <a:schemeClr val="accent1"/>
                </a:solidFill>
                <a:latin typeface="Chelsea Market Pro" charset="0"/>
                <a:ea typeface="Chelsea Market Pro" charset="0"/>
                <a:cs typeface="Chelsea Market Pro" charset="0"/>
              </a:defRPr>
            </a:lvl1pPr>
          </a:lstStyle>
          <a:p>
            <a:pPr>
              <a:defRPr/>
            </a:pPr>
            <a:r>
              <a:rPr lang="de-DE" sz="2000" dirty="0" smtClean="0">
                <a:solidFill>
                  <a:srgbClr val="CCB6C7"/>
                </a:solidFill>
              </a:rPr>
              <a:t>Überschrift 2</a:t>
            </a:r>
            <a:endParaRPr lang="de-DE" sz="2000" dirty="0">
              <a:solidFill>
                <a:srgbClr val="CCB6C7"/>
              </a:solidFill>
            </a:endParaRPr>
          </a:p>
        </p:txBody>
      </p:sp>
      <p:sp>
        <p:nvSpPr>
          <p:cNvPr id="6" name="Titelplatzhalter 1"/>
          <p:cNvSpPr txBox="1">
            <a:spLocks/>
          </p:cNvSpPr>
          <p:nvPr/>
        </p:nvSpPr>
        <p:spPr>
          <a:xfrm>
            <a:off x="546100" y="1236663"/>
            <a:ext cx="2949575" cy="1112837"/>
          </a:xfrm>
          <a:prstGeom prst="rect">
            <a:avLst/>
          </a:prstGeom>
        </p:spPr>
        <p:txBody>
          <a:bodyPr lIns="91392" tIns="45696" rIns="91392" bIns="45696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kern="1200">
                <a:solidFill>
                  <a:schemeClr val="accent1"/>
                </a:solidFill>
                <a:latin typeface="Chelsea Market Pro" charset="0"/>
                <a:ea typeface="Chelsea Market Pro" charset="0"/>
                <a:cs typeface="Chelsea Market Pro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6B205E"/>
                </a:solidFill>
              </a:rPr>
              <a:t>Überschrift 1</a:t>
            </a:r>
            <a:endParaRPr lang="de-DE" dirty="0">
              <a:solidFill>
                <a:srgbClr val="6B205E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1618488"/>
            <a:ext cx="4673282" cy="42425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546354" y="2587627"/>
            <a:ext cx="2949575" cy="3281363"/>
          </a:xfrm>
        </p:spPr>
        <p:txBody>
          <a:bodyPr/>
          <a:lstStyle>
            <a:lvl1pPr marL="0" indent="0">
              <a:buNone/>
              <a:defRPr sz="1600"/>
            </a:lvl1pPr>
            <a:lvl2pPr marL="456958" indent="0">
              <a:buNone/>
              <a:defRPr sz="1400"/>
            </a:lvl2pPr>
            <a:lvl3pPr marL="913916" indent="0">
              <a:buNone/>
              <a:defRPr sz="1200"/>
            </a:lvl3pPr>
            <a:lvl4pPr marL="1370874" indent="0">
              <a:buNone/>
              <a:defRPr sz="1000"/>
            </a:lvl4pPr>
            <a:lvl5pPr marL="1827832" indent="0">
              <a:buNone/>
              <a:defRPr sz="1000"/>
            </a:lvl5pPr>
            <a:lvl6pPr marL="2284789" indent="0">
              <a:buNone/>
              <a:defRPr sz="1000"/>
            </a:lvl6pPr>
            <a:lvl7pPr marL="2741748" indent="0">
              <a:buNone/>
              <a:defRPr sz="1000"/>
            </a:lvl7pPr>
            <a:lvl8pPr marL="3198706" indent="0">
              <a:buNone/>
              <a:defRPr sz="1000"/>
            </a:lvl8pPr>
            <a:lvl9pPr marL="3655663" indent="0">
              <a:buNone/>
              <a:defRPr sz="10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AF574C-C9E0-EF44-A7E7-3EEE1C943A40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110538" y="6356353"/>
            <a:ext cx="720725" cy="365125"/>
          </a:xfrm>
          <a:prstGeom prst="rect">
            <a:avLst/>
          </a:prstGeom>
        </p:spPr>
        <p:txBody>
          <a:bodyPr lIns="91392" tIns="45696" rIns="91392" bIns="45696"/>
          <a:lstStyle>
            <a:lvl1pPr>
              <a:defRPr/>
            </a:lvl1pPr>
          </a:lstStyle>
          <a:p>
            <a:pPr defTabSz="8013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9A349AD-E042-CC4E-8BA8-E67B97E44679}" type="slidenum">
              <a:rPr lang="de-DE" sz="1600" smtClean="0">
                <a:solidFill>
                  <a:srgbClr val="000000"/>
                </a:solidFill>
              </a:rPr>
              <a:pPr defTabSz="80133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621356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1"/>
          <p:cNvSpPr txBox="1">
            <a:spLocks/>
          </p:cNvSpPr>
          <p:nvPr/>
        </p:nvSpPr>
        <p:spPr>
          <a:xfrm>
            <a:off x="546100" y="1236663"/>
            <a:ext cx="2949575" cy="1112837"/>
          </a:xfrm>
          <a:prstGeom prst="rect">
            <a:avLst/>
          </a:prstGeom>
        </p:spPr>
        <p:txBody>
          <a:bodyPr lIns="91392" tIns="45696" rIns="91392" bIns="45696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kern="1200">
                <a:solidFill>
                  <a:schemeClr val="accent1"/>
                </a:solidFill>
                <a:latin typeface="Chelsea Market Pro" charset="0"/>
                <a:ea typeface="Chelsea Market Pro" charset="0"/>
                <a:cs typeface="Chelsea Market Pro" charset="0"/>
              </a:defRPr>
            </a:lvl1pPr>
          </a:lstStyle>
          <a:p>
            <a:pPr>
              <a:defRPr/>
            </a:pPr>
            <a:r>
              <a:rPr lang="de-DE" smtClean="0">
                <a:solidFill>
                  <a:srgbClr val="6B205E"/>
                </a:solidFill>
              </a:rPr>
              <a:t>Überschrift 1</a:t>
            </a:r>
            <a:endParaRPr lang="de-DE" dirty="0">
              <a:solidFill>
                <a:srgbClr val="6B205E"/>
              </a:solidFill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1261872"/>
            <a:ext cx="4673282" cy="4261104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58" indent="0">
              <a:buNone/>
              <a:defRPr sz="2800"/>
            </a:lvl2pPr>
            <a:lvl3pPr marL="913916" indent="0">
              <a:buNone/>
              <a:defRPr sz="2400"/>
            </a:lvl3pPr>
            <a:lvl4pPr marL="1370874" indent="0">
              <a:buNone/>
              <a:defRPr sz="2000"/>
            </a:lvl4pPr>
            <a:lvl5pPr marL="1827832" indent="0">
              <a:buNone/>
              <a:defRPr sz="2000"/>
            </a:lvl5pPr>
            <a:lvl6pPr marL="2284789" indent="0">
              <a:buNone/>
              <a:defRPr sz="2000"/>
            </a:lvl6pPr>
            <a:lvl7pPr marL="2741748" indent="0">
              <a:buNone/>
              <a:defRPr sz="2000"/>
            </a:lvl7pPr>
            <a:lvl8pPr marL="3198706" indent="0">
              <a:buNone/>
              <a:defRPr sz="2000"/>
            </a:lvl8pPr>
            <a:lvl9pPr marL="3655663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10" name="Textplatzhalter 3"/>
          <p:cNvSpPr>
            <a:spLocks noGrp="1"/>
          </p:cNvSpPr>
          <p:nvPr>
            <p:ph type="body" sz="half" idx="2"/>
          </p:nvPr>
        </p:nvSpPr>
        <p:spPr>
          <a:xfrm>
            <a:off x="546354" y="2587627"/>
            <a:ext cx="2949575" cy="3281363"/>
          </a:xfrm>
        </p:spPr>
        <p:txBody>
          <a:bodyPr/>
          <a:lstStyle>
            <a:lvl1pPr marL="0" indent="0">
              <a:buNone/>
              <a:defRPr sz="1600"/>
            </a:lvl1pPr>
            <a:lvl2pPr marL="456958" indent="0">
              <a:buNone/>
              <a:defRPr sz="1400"/>
            </a:lvl2pPr>
            <a:lvl3pPr marL="913916" indent="0">
              <a:buNone/>
              <a:defRPr sz="1200"/>
            </a:lvl3pPr>
            <a:lvl4pPr marL="1370874" indent="0">
              <a:buNone/>
              <a:defRPr sz="1000"/>
            </a:lvl4pPr>
            <a:lvl5pPr marL="1827832" indent="0">
              <a:buNone/>
              <a:defRPr sz="1000"/>
            </a:lvl5pPr>
            <a:lvl6pPr marL="2284789" indent="0">
              <a:buNone/>
              <a:defRPr sz="1000"/>
            </a:lvl6pPr>
            <a:lvl7pPr marL="2741748" indent="0">
              <a:buNone/>
              <a:defRPr sz="1000"/>
            </a:lvl7pPr>
            <a:lvl8pPr marL="3198706" indent="0">
              <a:buNone/>
              <a:defRPr sz="1000"/>
            </a:lvl8pPr>
            <a:lvl9pPr marL="3655663" indent="0">
              <a:buNone/>
              <a:defRPr sz="10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F1E45-4DB8-FA45-B3DF-499B9A1FEFED}" type="datetime1">
              <a:rPr lang="de-DE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110538" y="6356353"/>
            <a:ext cx="720725" cy="365125"/>
          </a:xfrm>
          <a:prstGeom prst="rect">
            <a:avLst/>
          </a:prstGeom>
        </p:spPr>
        <p:txBody>
          <a:bodyPr lIns="91392" tIns="45696" rIns="91392" bIns="45696"/>
          <a:lstStyle>
            <a:lvl1pPr>
              <a:defRPr/>
            </a:lvl1pPr>
          </a:lstStyle>
          <a:p>
            <a:pPr defTabSz="80133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4098A61-F5B9-D54B-8F3F-7801F3993D1D}" type="slidenum">
              <a:rPr lang="de-DE" sz="1600" smtClean="0">
                <a:solidFill>
                  <a:srgbClr val="000000"/>
                </a:solidFill>
              </a:rPr>
              <a:pPr defTabSz="80133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166486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958" indent="0">
              <a:buNone/>
              <a:defRPr sz="2800"/>
            </a:lvl2pPr>
            <a:lvl3pPr marL="913916" indent="0">
              <a:buNone/>
              <a:defRPr sz="2400"/>
            </a:lvl3pPr>
            <a:lvl4pPr marL="1370874" indent="0">
              <a:buNone/>
              <a:defRPr sz="2000"/>
            </a:lvl4pPr>
            <a:lvl5pPr marL="1827832" indent="0">
              <a:buNone/>
              <a:defRPr sz="2000"/>
            </a:lvl5pPr>
            <a:lvl6pPr marL="2284789" indent="0">
              <a:buNone/>
              <a:defRPr sz="2000"/>
            </a:lvl6pPr>
            <a:lvl7pPr marL="2741748" indent="0">
              <a:buNone/>
              <a:defRPr sz="2000"/>
            </a:lvl7pPr>
            <a:lvl8pPr marL="3198706" indent="0">
              <a:buNone/>
              <a:defRPr sz="2000"/>
            </a:lvl8pPr>
            <a:lvl9pPr marL="3655663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958" indent="0">
              <a:buNone/>
              <a:defRPr sz="1200"/>
            </a:lvl2pPr>
            <a:lvl3pPr marL="913916" indent="0">
              <a:buNone/>
              <a:defRPr sz="1000"/>
            </a:lvl3pPr>
            <a:lvl4pPr marL="1370874" indent="0">
              <a:buNone/>
              <a:defRPr sz="900"/>
            </a:lvl4pPr>
            <a:lvl5pPr marL="1827832" indent="0">
              <a:buNone/>
              <a:defRPr sz="900"/>
            </a:lvl5pPr>
            <a:lvl6pPr marL="2284789" indent="0">
              <a:buNone/>
              <a:defRPr sz="900"/>
            </a:lvl6pPr>
            <a:lvl7pPr marL="2741748" indent="0">
              <a:buNone/>
              <a:defRPr sz="900"/>
            </a:lvl7pPr>
            <a:lvl8pPr marL="3198706" indent="0">
              <a:buNone/>
              <a:defRPr sz="900"/>
            </a:lvl8pPr>
            <a:lvl9pPr marL="365566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037633E-1810-9D42-A897-161122F94D8E}" type="datetime1">
              <a:rPr lang="de-DE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786742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436626" y="2900114"/>
            <a:ext cx="7107174" cy="2852737"/>
          </a:xfrm>
          <a:prstGeom prst="rect">
            <a:avLst/>
          </a:prstGeom>
        </p:spPr>
        <p:txBody>
          <a:bodyPr lIns="91360" tIns="45680" rIns="91360" bIns="45680" anchor="b"/>
          <a:lstStyle>
            <a:lvl1pPr>
              <a:defRPr sz="3500">
                <a:solidFill>
                  <a:schemeClr val="accent1"/>
                </a:solidFill>
                <a:latin typeface="Chelsea Market Pro" charset="0"/>
                <a:ea typeface="Chelsea Market Pro" charset="0"/>
                <a:cs typeface="Chelsea Market Pro" charset="0"/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78903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6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 descr="Hintergrund ohne screen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-1588" y="3175"/>
            <a:ext cx="91471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65200" y="1675494"/>
            <a:ext cx="7235371" cy="1477328"/>
          </a:xfr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/>
          <a:lstStyle>
            <a:lvl1pPr algn="ctr">
              <a:defRPr lang="de-DE" sz="4800" kern="0" spc="0" baseline="0" noProof="0" smtClean="0">
                <a:solidFill>
                  <a:schemeClr val="bg1"/>
                </a:solidFill>
                <a:effectLst/>
                <a:latin typeface="+mn-lt"/>
              </a:defRPr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65200" y="3563713"/>
            <a:ext cx="7213600" cy="984885"/>
          </a:xfrm>
        </p:spPr>
        <p:txBody>
          <a:bodyPr/>
          <a:lstStyle>
            <a:lvl1pPr algn="ctr">
              <a:defRPr sz="3200" kern="0" spc="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8811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" descr="Hintergrund ohne screen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-1588" y="3175"/>
            <a:ext cx="91471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215900" y="196929"/>
            <a:ext cx="8704941" cy="1107996"/>
          </a:xfrm>
          <a:noFill/>
          <a:ln>
            <a:noFill/>
          </a:ln>
          <a:effectLst/>
          <a:extLst/>
        </p:spPr>
        <p:txBody>
          <a:bodyPr>
            <a:scene3d>
              <a:camera prst="orthographicFront"/>
              <a:lightRig rig="threePt" dir="t"/>
            </a:scene3d>
            <a:sp3d prstMaterial="metal"/>
          </a:bodyPr>
          <a:lstStyle>
            <a:lvl1pPr>
              <a:defRPr lang="en-GB" sz="3600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pPr lvl="0"/>
            <a:r>
              <a:rPr lang="de-DE" dirty="0" smtClean="0"/>
              <a:t>Titelmasterformat durch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en-GB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223159" y="1665288"/>
            <a:ext cx="8704941" cy="1692771"/>
          </a:xfrm>
          <a:noFill/>
          <a:ln>
            <a:noFill/>
          </a:ln>
          <a:effectLst/>
          <a:extLst/>
        </p:spPr>
        <p:txBody>
          <a:bodyPr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2pPr>
            <a:lvl3pPr marL="361950" indent="-180975"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3pPr>
            <a:lvl4pPr marL="542925" indent="-180975"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4pPr>
            <a:lvl5pPr marL="714375" indent="-171450"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sp>
        <p:nvSpPr>
          <p:cNvPr id="8" name="Rechteck 30"/>
          <p:cNvSpPr/>
          <p:nvPr userDrawn="1"/>
        </p:nvSpPr>
        <p:spPr>
          <a:xfrm>
            <a:off x="8429625" y="187231"/>
            <a:ext cx="498475" cy="536669"/>
          </a:xfrm>
          <a:custGeom>
            <a:avLst/>
            <a:gdLst/>
            <a:ahLst/>
            <a:cxnLst/>
            <a:rect l="l" t="t" r="r" b="b"/>
            <a:pathLst>
              <a:path w="5439770" h="5855856">
                <a:moveTo>
                  <a:pt x="1995057" y="628082"/>
                </a:moveTo>
                <a:lnTo>
                  <a:pt x="1995057" y="2641604"/>
                </a:lnTo>
                <a:lnTo>
                  <a:pt x="3592949" y="2641604"/>
                </a:lnTo>
                <a:cubicBezTo>
                  <a:pt x="4148968" y="2641604"/>
                  <a:pt x="4599710" y="2190862"/>
                  <a:pt x="4599710" y="1634843"/>
                </a:cubicBezTo>
                <a:cubicBezTo>
                  <a:pt x="4599710" y="1078824"/>
                  <a:pt x="4148968" y="628082"/>
                  <a:pt x="3592949" y="628082"/>
                </a:cubicBezTo>
                <a:close/>
                <a:moveTo>
                  <a:pt x="0" y="1"/>
                </a:moveTo>
                <a:lnTo>
                  <a:pt x="692730" y="1"/>
                </a:lnTo>
                <a:lnTo>
                  <a:pt x="692730" y="5237023"/>
                </a:lnTo>
                <a:lnTo>
                  <a:pt x="3835629" y="5237023"/>
                </a:lnTo>
                <a:lnTo>
                  <a:pt x="4098495" y="5855855"/>
                </a:lnTo>
                <a:lnTo>
                  <a:pt x="692730" y="5855855"/>
                </a:lnTo>
                <a:lnTo>
                  <a:pt x="692730" y="5855856"/>
                </a:lnTo>
                <a:lnTo>
                  <a:pt x="0" y="5855856"/>
                </a:lnTo>
                <a:close/>
                <a:moveTo>
                  <a:pt x="1302326" y="0"/>
                </a:moveTo>
                <a:lnTo>
                  <a:pt x="1995055" y="0"/>
                </a:lnTo>
                <a:lnTo>
                  <a:pt x="1995055" y="1"/>
                </a:lnTo>
                <a:lnTo>
                  <a:pt x="3694545" y="1"/>
                </a:lnTo>
                <a:cubicBezTo>
                  <a:pt x="4582137" y="1"/>
                  <a:pt x="5301672" y="719536"/>
                  <a:pt x="5301672" y="1607128"/>
                </a:cubicBezTo>
                <a:cubicBezTo>
                  <a:pt x="5301672" y="2293927"/>
                  <a:pt x="4870863" y="2880105"/>
                  <a:pt x="4264089" y="3108463"/>
                </a:cubicBezTo>
                <a:lnTo>
                  <a:pt x="5439770" y="5855856"/>
                </a:lnTo>
                <a:lnTo>
                  <a:pt x="4712417" y="5855856"/>
                </a:lnTo>
                <a:lnTo>
                  <a:pt x="3582007" y="3214255"/>
                </a:lnTo>
                <a:lnTo>
                  <a:pt x="1995055" y="3214254"/>
                </a:lnTo>
                <a:lnTo>
                  <a:pt x="1995055" y="4701309"/>
                </a:lnTo>
                <a:lnTo>
                  <a:pt x="1302326" y="4701309"/>
                </a:lnTo>
                <a:close/>
              </a:path>
            </a:pathLst>
          </a:custGeom>
          <a:solidFill>
            <a:schemeClr val="bg1">
              <a:alpha val="65000"/>
            </a:schemeClr>
          </a:solidFill>
          <a:ln w="9525">
            <a:noFill/>
          </a:ln>
          <a:effectLst>
            <a:outerShdw blurRad="190500" sx="101000" sy="1010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49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 preferRelativeResize="0">
            <a:picLocks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5" t="2723" r="87425" b="2704"/>
          <a:stretch/>
        </p:blipFill>
        <p:spPr bwMode="auto">
          <a:xfrm>
            <a:off x="179388" y="171450"/>
            <a:ext cx="8785225" cy="649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649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900" y="196929"/>
            <a:ext cx="8712200" cy="55399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1247258" y="6238872"/>
            <a:ext cx="7573664" cy="279151"/>
          </a:xfrm>
        </p:spPr>
        <p:txBody>
          <a:bodyPr anchor="b"/>
          <a:lstStyle>
            <a:lvl1pPr>
              <a:spcBef>
                <a:spcPts val="0"/>
              </a:spcBef>
              <a:defRPr sz="900" b="0"/>
            </a:lvl1pPr>
          </a:lstStyle>
          <a:p>
            <a:pPr lvl="0"/>
            <a:r>
              <a:rPr lang="de-DE" dirty="0" smtClean="0"/>
              <a:t>1 Fußnote</a:t>
            </a:r>
            <a:br>
              <a:rPr lang="de-DE" dirty="0" smtClean="0"/>
            </a:br>
            <a:r>
              <a:rPr lang="de-DE" dirty="0" smtClean="0"/>
              <a:t>Quel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60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seite"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784893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1208933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2422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308150" y="1609760"/>
            <a:ext cx="8512770" cy="4921403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dirty="0" smtClean="0"/>
              <a:t>Bild auf Platzhalter ziehen oder durch Klicken auf Symbol hinzufügen</a:t>
            </a:r>
            <a:endParaRPr lang="de-AT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397704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89654" y="3211648"/>
            <a:ext cx="5319487" cy="753707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de-DE" smtClean="0"/>
              <a:t>Titelmasterformat durch Klicken bearbeiten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489654" y="4136734"/>
            <a:ext cx="5319487" cy="237278"/>
          </a:xfrm>
        </p:spPr>
        <p:txBody>
          <a:bodyPr/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35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1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7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2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8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4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9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5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TT.MM.YYYY</a:t>
            </a:r>
            <a:endParaRPr lang="en-GB" dirty="0"/>
          </a:p>
        </p:txBody>
      </p:sp>
      <p:sp>
        <p:nvSpPr>
          <p:cNvPr id="4" name="Rechteck 3"/>
          <p:cNvSpPr/>
          <p:nvPr userDrawn="1"/>
        </p:nvSpPr>
        <p:spPr>
          <a:xfrm>
            <a:off x="8576572" y="6591637"/>
            <a:ext cx="244347" cy="164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21" tIns="40011" rIns="80021" bIns="40011" rtlCol="0" anchor="ctr"/>
          <a:lstStyle/>
          <a:p>
            <a:pPr algn="ctr" defTabSz="871337"/>
            <a:endParaRPr lang="de-AT" sz="1200" dirty="0" err="1" smtClean="0">
              <a:solidFill>
                <a:prstClr val="black"/>
              </a:solidFill>
            </a:endParaRPr>
          </a:p>
        </p:txBody>
      </p:sp>
      <p:pic>
        <p:nvPicPr>
          <p:cNvPr id="11" name="Bild 10" descr="Praesentation_Claim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8819" y="6012808"/>
            <a:ext cx="1542100" cy="51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732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Inhaltsplatzhalter 2"/>
          <p:cNvSpPr>
            <a:spLocks noGrp="1"/>
          </p:cNvSpPr>
          <p:nvPr>
            <p:ph idx="10" hasCustomPrompt="1"/>
          </p:nvPr>
        </p:nvSpPr>
        <p:spPr>
          <a:xfrm>
            <a:off x="1247258" y="6238875"/>
            <a:ext cx="7573664" cy="279151"/>
          </a:xfrm>
        </p:spPr>
        <p:txBody>
          <a:bodyPr anchor="b"/>
          <a:lstStyle>
            <a:lvl1pPr>
              <a:spcBef>
                <a:spcPts val="0"/>
              </a:spcBef>
              <a:defRPr sz="900" b="0"/>
            </a:lvl1pPr>
          </a:lstStyle>
          <a:p>
            <a:pPr lvl="0"/>
            <a:r>
              <a:rPr lang="de-DE" dirty="0" smtClean="0"/>
              <a:t>1 Fußnote</a:t>
            </a:r>
            <a:br>
              <a:rPr lang="de-DE" dirty="0" smtClean="0"/>
            </a:br>
            <a:r>
              <a:rPr lang="de-DE" dirty="0" smtClean="0"/>
              <a:t>Quel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283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seite"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704246"/>
              </p:ext>
            </p:extLst>
          </p:nvPr>
        </p:nvGraphicFramePr>
        <p:xfrm>
          <a:off x="1367" y="1450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7" y="1450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47931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436626" y="4636246"/>
            <a:ext cx="4158424" cy="1116602"/>
          </a:xfrm>
          <a:prstGeom prst="rect">
            <a:avLst/>
          </a:prstGeom>
        </p:spPr>
        <p:txBody>
          <a:bodyPr anchor="b"/>
          <a:lstStyle>
            <a:lvl1pPr>
              <a:defRPr sz="3500" b="1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>
          <a:xfrm>
            <a:off x="436628" y="5761164"/>
            <a:ext cx="3877818" cy="63963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6635" indent="0" algn="l">
              <a:buFontTx/>
              <a:buNone/>
              <a:defRPr sz="900">
                <a:solidFill>
                  <a:schemeClr val="accent1"/>
                </a:solidFill>
                <a:latin typeface="Open Sans" charset="0"/>
                <a:ea typeface="Open Sans" charset="0"/>
                <a:cs typeface="Open Sans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06302" y="-61360"/>
            <a:ext cx="10518635" cy="701242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878" y="-61363"/>
            <a:ext cx="3916382" cy="146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40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1" y="6356355"/>
            <a:ext cx="2133600" cy="365125"/>
          </a:xfrm>
          <a:prstGeom prst="rect">
            <a:avLst/>
          </a:prstGeom>
        </p:spPr>
        <p:txBody>
          <a:bodyPr lIns="91360" tIns="45680" rIns="91360" bIns="45680"/>
          <a:lstStyle/>
          <a:p>
            <a:pPr defTabSz="871337"/>
            <a:fld id="{00D85C15-0F9C-45D7-B4B5-6DD5104C6C9E}" type="datetimeFigureOut">
              <a:rPr lang="en-US" smtClean="0">
                <a:solidFill>
                  <a:prstClr val="black"/>
                </a:solidFill>
              </a:rPr>
              <a:pPr defTabSz="871337"/>
              <a:t>22-Nov-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3" y="6356355"/>
            <a:ext cx="2895600" cy="365125"/>
          </a:xfrm>
          <a:prstGeom prst="rect">
            <a:avLst/>
          </a:prstGeom>
        </p:spPr>
        <p:txBody>
          <a:bodyPr lIns="91360" tIns="45680" rIns="91360" bIns="45680"/>
          <a:lstStyle/>
          <a:p>
            <a:pPr defTabSz="871337"/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5"/>
            <a:ext cx="2133600" cy="365125"/>
          </a:xfrm>
          <a:prstGeom prst="rect">
            <a:avLst/>
          </a:prstGeom>
        </p:spPr>
        <p:txBody>
          <a:bodyPr lIns="91360" tIns="45680" rIns="91360" bIns="45680"/>
          <a:lstStyle/>
          <a:p>
            <a:pPr defTabSz="871337"/>
            <a:fld id="{835A29AD-EBBA-4945-A03E-27C1062E313C}" type="slidenum">
              <a:rPr lang="en-US" smtClean="0">
                <a:solidFill>
                  <a:prstClr val="black"/>
                </a:solidFill>
              </a:rPr>
              <a:pPr defTabSz="871337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79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ημερομηνίας"/>
          <p:cNvSpPr>
            <a:spLocks noGrp="1"/>
          </p:cNvSpPr>
          <p:nvPr>
            <p:ph type="dt" sz="half" idx="10"/>
          </p:nvPr>
        </p:nvSpPr>
        <p:spPr>
          <a:xfrm>
            <a:off x="457201" y="6356356"/>
            <a:ext cx="2133600" cy="365125"/>
          </a:xfrm>
          <a:prstGeom prst="rect">
            <a:avLst/>
          </a:prstGeom>
        </p:spPr>
        <p:txBody>
          <a:bodyPr lIns="80091" tIns="40046" rIns="80091" bIns="40046"/>
          <a:lstStyle/>
          <a:p>
            <a:pPr defTabSz="871337"/>
            <a:fld id="{F2853615-BFDE-46DE-814C-47EC6EF6D371}" type="datetimeFigureOut">
              <a:rPr lang="el-GR" smtClean="0">
                <a:solidFill>
                  <a:prstClr val="black"/>
                </a:solidFill>
              </a:rPr>
              <a:pPr defTabSz="871337"/>
              <a:t>22/11/2017</a:t>
            </a:fld>
            <a:endParaRPr lang="el-GR">
              <a:solidFill>
                <a:prstClr val="black"/>
              </a:solidFill>
            </a:endParaRPr>
          </a:p>
        </p:txBody>
      </p:sp>
      <p:sp>
        <p:nvSpPr>
          <p:cNvPr id="5" name="4 - Θέση υποσέλιδου"/>
          <p:cNvSpPr>
            <a:spLocks noGrp="1"/>
          </p:cNvSpPr>
          <p:nvPr>
            <p:ph type="ftr" sz="quarter" idx="11"/>
          </p:nvPr>
        </p:nvSpPr>
        <p:spPr>
          <a:xfrm>
            <a:off x="3124203" y="6356356"/>
            <a:ext cx="2895600" cy="365125"/>
          </a:xfrm>
          <a:prstGeom prst="rect">
            <a:avLst/>
          </a:prstGeom>
        </p:spPr>
        <p:txBody>
          <a:bodyPr lIns="80091" tIns="40046" rIns="80091" bIns="40046"/>
          <a:lstStyle/>
          <a:p>
            <a:pPr defTabSz="871337"/>
            <a:endParaRPr lang="el-GR">
              <a:solidFill>
                <a:prstClr val="black"/>
              </a:solidFill>
            </a:endParaRPr>
          </a:p>
        </p:txBody>
      </p:sp>
      <p:sp>
        <p:nvSpPr>
          <p:cNvPr id="6" name="5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lIns="80091" tIns="40046" rIns="80091" bIns="40046"/>
          <a:lstStyle/>
          <a:p>
            <a:pPr defTabSz="871337"/>
            <a:fld id="{3DF53439-851E-44AD-84B1-B6BFC3D0C743}" type="slidenum">
              <a:rPr lang="el-GR" smtClean="0">
                <a:solidFill>
                  <a:prstClr val="black"/>
                </a:solidFill>
              </a:rPr>
              <a:pPr defTabSz="871337"/>
              <a:t>‹#›</a:t>
            </a:fld>
            <a:endParaRPr lang="el-G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83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6.jp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82787579"/>
              </p:ext>
            </p:extLst>
          </p:nvPr>
        </p:nvGraphicFramePr>
        <p:xfrm>
          <a:off x="1476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76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247255" y="729635"/>
            <a:ext cx="7573665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47258" y="1599673"/>
            <a:ext cx="7573664" cy="12567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sp>
        <p:nvSpPr>
          <p:cNvPr id="13" name="Foliennummernplatzhalter 5"/>
          <p:cNvSpPr txBox="1">
            <a:spLocks/>
          </p:cNvSpPr>
          <p:nvPr/>
        </p:nvSpPr>
        <p:spPr>
          <a:xfrm>
            <a:off x="6702252" y="6596404"/>
            <a:ext cx="2133600" cy="15388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9569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9784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69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9353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89225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87070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84916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82761" algn="l" defTabSz="99569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449925-A108-408A-83B4-749E5EA7A23D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510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720" r:id="rId10"/>
    <p:sldLayoutId id="2147483721" r:id="rId11"/>
    <p:sldLayoutId id="2147483722" r:id="rId12"/>
  </p:sldLayoutIdLst>
  <p:txStyles>
    <p:titleStyle>
      <a:lvl1pPr algn="l" defTabSz="871337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871337" rtl="0" eaLnBrk="1" latinLnBrk="0" hangingPunct="1">
        <a:spcBef>
          <a:spcPts val="526"/>
        </a:spcBef>
        <a:buFont typeface="Arial" panose="020B0604020202020204" pitchFamily="34" charset="0"/>
        <a:buNone/>
        <a:defRPr sz="17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871337" rtl="0" eaLnBrk="1" latinLnBrk="0" hangingPunct="1">
        <a:spcBef>
          <a:spcPts val="526"/>
        </a:spcBef>
        <a:buClr>
          <a:schemeClr val="accent1"/>
        </a:buClr>
        <a:buFont typeface="Wingdings 2" panose="05020102010507070707" pitchFamily="18" charset="2"/>
        <a:buNone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16745" indent="-316745" algn="l" defTabSz="871337" rtl="0" eaLnBrk="1" latinLnBrk="0" hangingPunct="1">
        <a:spcBef>
          <a:spcPts val="526"/>
        </a:spcBef>
        <a:buClr>
          <a:schemeClr val="accent1"/>
        </a:buClr>
        <a:buFont typeface="Wingdings 2" panose="05020102010507070707" pitchFamily="18" charset="2"/>
        <a:buChar char="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50138" indent="-233392" algn="l" defTabSz="871337" rtl="0" eaLnBrk="1" latinLnBrk="0" hangingPunct="1">
        <a:spcBef>
          <a:spcPts val="526"/>
        </a:spcBef>
        <a:buClr>
          <a:schemeClr val="accent1"/>
        </a:buClr>
        <a:buSzPct val="130000"/>
        <a:buFont typeface="Wingdings 2" panose="05020102010507070707" pitchFamily="18" charset="2"/>
        <a:buChar char="¡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83528" indent="-233392" algn="l" defTabSz="871337" rtl="0" eaLnBrk="1" latinLnBrk="0" hangingPunct="1">
        <a:spcBef>
          <a:spcPts val="526"/>
        </a:spcBef>
        <a:buClr>
          <a:schemeClr val="accent1"/>
        </a:buClr>
        <a:buSzPct val="130000"/>
        <a:buFont typeface="Wingdings 2" panose="05020102010507070707" pitchFamily="18" charset="2"/>
        <a:buChar char="¡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96178" indent="-217835" algn="l" defTabSz="87133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1845" indent="-217835" algn="l" defTabSz="87133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7516" indent="-217835" algn="l" defTabSz="87133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3184" indent="-217835" algn="l" defTabSz="871337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5668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1337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004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2675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78345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4010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49681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5350" algn="l" defTabSz="8713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4294967295" orient="horz" pos="1104">
          <p15:clr>
            <a:srgbClr val="F26B43"/>
          </p15:clr>
        </p15:guide>
        <p15:guide id="4294967295" pos="225">
          <p15:clr>
            <a:srgbClr val="F26B43"/>
          </p15:clr>
        </p15:guide>
        <p15:guide id="0" orient="horz" pos="4536" userDrawn="1">
          <p15:clr>
            <a:srgbClr val="F26B43"/>
          </p15:clr>
        </p15:guide>
        <p15:guide id="0" pos="919" userDrawn="1">
          <p15:clr>
            <a:srgbClr val="F26B43"/>
          </p15:clr>
        </p15:guide>
        <p15:guide id="0" pos="6498" userDrawn="1">
          <p15:clr>
            <a:srgbClr val="F26B43"/>
          </p15:clr>
        </p15:guide>
        <p15:guide id="0" orient="horz" pos="1111" userDrawn="1">
          <p15:clr>
            <a:srgbClr val="F26B43"/>
          </p15:clr>
        </p15:guide>
        <p15:guide id="0" pos="216" userDrawn="1">
          <p15:clr>
            <a:srgbClr val="F26B43"/>
          </p15:clr>
        </p15:guide>
        <p15:guide id="0" orient="horz" pos="6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801472">
              <a:defRPr/>
            </a:pPr>
            <a:fld id="{13BF07DF-3360-1C4D-8309-2CA0F0BDF84E}" type="datetime1">
              <a:rPr lang="de-DE" smtClean="0">
                <a:solidFill>
                  <a:srgbClr val="000000">
                    <a:tint val="75000"/>
                  </a:srgbClr>
                </a:solidFill>
              </a:rPr>
              <a:pPr defTabSz="801472">
                <a:defRPr/>
              </a:pPr>
              <a:t>22.11.2017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1" y="6356351"/>
            <a:ext cx="30861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801472"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1" y="6356351"/>
            <a:ext cx="2057400" cy="365125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801472">
              <a:defRPr/>
            </a:pPr>
            <a:fld id="{CAEC5113-925D-0241-8353-A19ECD770C70}" type="slidenum">
              <a:rPr lang="de-DE" smtClean="0">
                <a:solidFill>
                  <a:srgbClr val="000000">
                    <a:tint val="75000"/>
                  </a:srgbClr>
                </a:solidFill>
              </a:rPr>
              <a:pPr defTabSz="801472">
                <a:defRPr/>
              </a:pPr>
              <a:t>‹#›</a:t>
            </a:fld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2" name="Picture 2" descr="O:\02_LRGKF\1_Fundraising\2_Fördermitgliedschaft\02_Aktionen &amp; Kampagnen\2017\Fördermitglieder werben Fördermitglieder\2017\ThinkstockPhotos-513632121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4067" y="0"/>
            <a:ext cx="1030637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7105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5pPr>
      <a:lvl6pPr marL="45711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6pPr>
      <a:lvl7pPr marL="9142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7pPr>
      <a:lvl8pPr marL="137135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8pPr>
      <a:lvl9pPr marL="182847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9pPr>
    </p:titleStyle>
    <p:bodyStyle>
      <a:lvl1pPr marL="228560" indent="-22856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9" indent="-22856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98" indent="-22856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18" indent="-22856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037" indent="-22856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5" indent="-228560" algn="l" defTabSz="91423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5" indent="-228560" algn="l" defTabSz="91423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Bild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Titelplatzhalter 1"/>
          <p:cNvSpPr>
            <a:spLocks noGrp="1"/>
          </p:cNvSpPr>
          <p:nvPr>
            <p:ph type="title"/>
          </p:nvPr>
        </p:nvSpPr>
        <p:spPr bwMode="auto">
          <a:xfrm>
            <a:off x="546100" y="1236663"/>
            <a:ext cx="8015288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Überschrift 1</a:t>
            </a:r>
          </a:p>
        </p:txBody>
      </p:sp>
      <p:sp>
        <p:nvSpPr>
          <p:cNvPr id="205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546100" y="2292353"/>
            <a:ext cx="8015288" cy="3884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46102" y="6338891"/>
            <a:ext cx="2057400" cy="365125"/>
          </a:xfrm>
          <a:prstGeom prst="rect">
            <a:avLst/>
          </a:prstGeom>
        </p:spPr>
        <p:txBody>
          <a:bodyPr vert="horz" lIns="91392" tIns="45696" rIns="91392" bIns="45696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defTabSz="801330">
              <a:defRPr/>
            </a:pPr>
            <a:fld id="{5037633E-1810-9D42-A897-161122F94D8E}" type="datetime1">
              <a:rPr lang="de-DE" smtClean="0">
                <a:solidFill>
                  <a:srgbClr val="000000">
                    <a:tint val="75000"/>
                  </a:srgbClr>
                </a:solidFill>
              </a:rPr>
              <a:pPr defTabSz="801330">
                <a:defRPr/>
              </a:pPr>
              <a:t>22.11.2017</a:t>
            </a:fld>
            <a:endParaRPr lang="de-DE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475289" y="419103"/>
            <a:ext cx="3086100" cy="365125"/>
          </a:xfrm>
          <a:prstGeom prst="rect">
            <a:avLst/>
          </a:prstGeom>
        </p:spPr>
        <p:txBody>
          <a:bodyPr lIns="91392" tIns="45696" rIns="91392" bIns="45696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defTabSz="801330">
              <a:defRPr/>
            </a:pPr>
            <a:endParaRPr lang="de-DE">
              <a:solidFill>
                <a:srgbClr val="00000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02" y="59782"/>
            <a:ext cx="2391769" cy="89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00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 kern="1200">
          <a:solidFill>
            <a:schemeClr val="accent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5pPr>
      <a:lvl6pPr marL="456958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6pPr>
      <a:lvl7pPr marL="913916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7pPr>
      <a:lvl8pPr marL="1370874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8pPr>
      <a:lvl9pPr marL="1827832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accent1"/>
          </a:solidFill>
          <a:latin typeface="Chelsea Market Pro" charset="0"/>
          <a:ea typeface="Chelsea Market Pro" charset="0"/>
          <a:cs typeface="Chelsea Market Pro" charset="0"/>
        </a:defRPr>
      </a:lvl9pPr>
    </p:titleStyle>
    <p:bodyStyle>
      <a:lvl1pPr marL="228479" indent="-228479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accent1"/>
        </a:buClr>
        <a:buFont typeface="Arial" charset="0"/>
        <a:buChar char="•"/>
        <a:defRPr sz="2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1pPr>
      <a:lvl2pPr marL="685437" indent="-228479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charset="0"/>
        <a:buChar char="•"/>
        <a:defRPr sz="24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2pPr>
      <a:lvl3pPr marL="1142395" indent="-228479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charset="0"/>
        <a:buChar char="•"/>
        <a:defRPr sz="20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3pPr>
      <a:lvl4pPr marL="1599353" indent="-228479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charset="0"/>
        <a:buChar char="•"/>
        <a:defRPr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4pPr>
      <a:lvl5pPr marL="2056311" indent="-228479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chemeClr val="accent1"/>
        </a:buClr>
        <a:buFont typeface="Arial" charset="0"/>
        <a:buChar char="•"/>
        <a:defRPr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5pPr>
      <a:lvl6pPr marL="2513269" indent="-228479" algn="l" defTabSz="91391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6" indent="-228479" algn="l" defTabSz="91391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5" indent="-228479" algn="l" defTabSz="91391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3" indent="-228479" algn="l" defTabSz="913916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76263" y="155577"/>
            <a:ext cx="3465512" cy="1481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360" tIns="45680" rIns="91360" bIns="45680" anchor="ctr"/>
          <a:lstStyle/>
          <a:p>
            <a:pPr algn="ctr" defTabSz="801188">
              <a:defRPr/>
            </a:pPr>
            <a:endParaRPr lang="de-DE" sz="1600">
              <a:solidFill>
                <a:srgbClr val="6B205E"/>
              </a:solidFill>
            </a:endParaRPr>
          </a:p>
        </p:txBody>
      </p:sp>
      <p:sp>
        <p:nvSpPr>
          <p:cNvPr id="3" name="Rechteck 2">
            <a:hlinkClick r:id="" action="ppaction://hlinkshowjump?jump=firstslide" tooltip="Zur Titelseite"/>
          </p:cNvPr>
          <p:cNvSpPr/>
          <p:nvPr/>
        </p:nvSpPr>
        <p:spPr>
          <a:xfrm>
            <a:off x="576263" y="155577"/>
            <a:ext cx="3465512" cy="1481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0" tIns="45680" rIns="91360" bIns="45680" anchor="ctr"/>
          <a:lstStyle/>
          <a:p>
            <a:pPr algn="ctr" defTabSz="801188">
              <a:defRPr/>
            </a:pPr>
            <a:endParaRPr lang="de-DE" sz="1600">
              <a:solidFill>
                <a:srgbClr val="FFFFFF"/>
              </a:solidFill>
            </a:endParaRPr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560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5pPr>
      <a:lvl6pPr marL="456797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6pPr>
      <a:lvl7pPr marL="913593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7pPr>
      <a:lvl8pPr marL="137039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8pPr>
      <a:lvl9pPr marL="1827188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9pPr>
    </p:titleStyle>
    <p:bodyStyle>
      <a:lvl1pPr marL="228398" indent="-228398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195" indent="-228398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992" indent="-228398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789" indent="-228398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5585" indent="-228398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2383" indent="-228398" algn="l" defTabSz="91359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178" indent="-228398" algn="l" defTabSz="91359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76" indent="-228398" algn="l" defTabSz="91359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773" indent="-228398" algn="l" defTabSz="913593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97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93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90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88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83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80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78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373" algn="l" defTabSz="9135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3" name="AutoShape 119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314434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8" imgW="0" imgH="0" progId="TCLayout.ActiveDocument.1">
                  <p:embed/>
                </p:oleObj>
              </mc:Choice>
              <mc:Fallback>
                <p:oleObj name="think-cell Foli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 descr="Hintergrund ohne screen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-1588" y="3175"/>
            <a:ext cx="91471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15900" y="196929"/>
            <a:ext cx="871220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/>
          <a:p>
            <a:pPr lvl="0"/>
            <a:r>
              <a:rPr lang="de-DE" smtClean="0"/>
              <a:t>Titelmasterformat durch </a:t>
            </a:r>
            <a:br>
              <a:rPr lang="de-DE" smtClean="0"/>
            </a:br>
            <a:r>
              <a:rPr lang="de-DE" smtClean="0"/>
              <a:t>Klicken bearbeiten</a:t>
            </a:r>
            <a:endParaRPr lang="de-DE" dirty="0" smtClean="0"/>
          </a:p>
        </p:txBody>
      </p:sp>
      <p:sp>
        <p:nvSpPr>
          <p:cNvPr id="114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900" y="1665288"/>
            <a:ext cx="7581900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/>
          <a:p>
            <a:pPr marL="0" lvl="0" indent="0"/>
            <a:r>
              <a:rPr lang="de-DE" dirty="0" smtClean="0"/>
              <a:t>Textmasterformate durch Klicken bearbeiten</a:t>
            </a:r>
          </a:p>
          <a:p>
            <a:pPr marL="180975" lvl="1" indent="-179388">
              <a:buClr>
                <a:schemeClr val="bg1"/>
              </a:buClr>
              <a:buSzPct val="100000"/>
              <a:buChar char="§"/>
            </a:pPr>
            <a:r>
              <a:rPr lang="de-DE" dirty="0" smtClean="0"/>
              <a:t>Zweite Ebene</a:t>
            </a:r>
          </a:p>
          <a:p>
            <a:pPr marL="361950" lvl="2" indent="-180975">
              <a:buClr>
                <a:schemeClr val="bg1"/>
              </a:buClr>
              <a:buSzPct val="100000"/>
              <a:buFont typeface="Arial" pitchFamily="34" charset="0"/>
              <a:buChar char="•"/>
            </a:pPr>
            <a:r>
              <a:rPr lang="de-DE" dirty="0" smtClean="0"/>
              <a:t>Dritte Ebene</a:t>
            </a:r>
          </a:p>
          <a:p>
            <a:pPr marL="542925" lvl="3" indent="-180975">
              <a:buClr>
                <a:schemeClr val="bg1"/>
              </a:buClr>
              <a:buSzPct val="100000"/>
              <a:buFont typeface="Symbol" pitchFamily="18" charset="2"/>
              <a:buChar char="-"/>
            </a:pPr>
            <a:r>
              <a:rPr lang="de-DE" dirty="0" smtClean="0"/>
              <a:t>Vierte Ebene</a:t>
            </a:r>
          </a:p>
          <a:p>
            <a:pPr marL="714375" lvl="4" indent="-171450">
              <a:buClr>
                <a:schemeClr val="bg1"/>
              </a:buClr>
              <a:buSzPct val="100000"/>
              <a:buFont typeface="Symbol" pitchFamily="18" charset="2"/>
              <a:buChar char="-"/>
            </a:pPr>
            <a:r>
              <a:rPr lang="de-DE" dirty="0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8203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3600" b="1" kern="1200" spc="0" baseline="0" dirty="0" smtClean="0">
          <a:solidFill>
            <a:schemeClr val="bg1"/>
          </a:solidFill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latin typeface="+mn-lt"/>
          <a:ea typeface="Calibri" pitchFamily="34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FFFFFF"/>
          </a:solidFill>
          <a:latin typeface="Calibri" pitchFamily="34" charset="0"/>
          <a:cs typeface="Calibri" pitchFamily="34" charset="0"/>
        </a:defRPr>
      </a:lvl9pPr>
    </p:titleStyle>
    <p:bodyStyle>
      <a:lvl1pPr marL="0" indent="0" algn="l" rtl="0" eaLnBrk="0" fontAlgn="base" hangingPunct="0">
        <a:spcBef>
          <a:spcPts val="600"/>
        </a:spcBef>
        <a:spcAft>
          <a:spcPct val="0"/>
        </a:spcAft>
        <a:defRPr lang="de-DE" sz="1800" b="0" kern="0" spc="0" baseline="0" dirty="0" smtClean="0">
          <a:solidFill>
            <a:schemeClr val="bg1"/>
          </a:solidFill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latin typeface="+mn-lt"/>
          <a:ea typeface="+mj-ea"/>
          <a:cs typeface="+mj-cs"/>
        </a:defRPr>
      </a:lvl1pPr>
      <a:lvl2pPr marL="200025" indent="-198438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lang="de-DE" sz="1800" b="0" kern="0" spc="0" baseline="0" dirty="0" smtClean="0">
          <a:solidFill>
            <a:schemeClr val="bg1"/>
          </a:solidFill>
          <a:effectLst/>
          <a:latin typeface="+mn-lt"/>
          <a:ea typeface="Calibri" pitchFamily="34" charset="0"/>
          <a:cs typeface="+mn-cs"/>
        </a:defRPr>
      </a:lvl2pPr>
      <a:lvl3pPr marL="400050" indent="-21907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lang="de-DE" sz="1800" b="0" kern="0" spc="0" baseline="0" dirty="0" smtClean="0">
          <a:solidFill>
            <a:schemeClr val="bg1"/>
          </a:solidFill>
          <a:effectLst/>
          <a:latin typeface="+mn-lt"/>
          <a:ea typeface="Calibri" pitchFamily="34" charset="0"/>
          <a:cs typeface="+mn-cs"/>
        </a:defRPr>
      </a:lvl3pPr>
      <a:lvl4pPr marL="600075" indent="-23812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lang="de-DE" sz="1800" b="0" kern="0" spc="0" baseline="0" dirty="0" smtClean="0">
          <a:solidFill>
            <a:schemeClr val="bg1"/>
          </a:solidFill>
          <a:effectLst/>
          <a:latin typeface="+mn-lt"/>
          <a:ea typeface="Calibri" pitchFamily="34" charset="0"/>
          <a:cs typeface="+mn-cs"/>
        </a:defRPr>
      </a:lvl4pPr>
      <a:lvl5pPr marL="800100" indent="-25717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 lang="de-DE" sz="1800" b="0" kern="0" spc="0" baseline="0" dirty="0" smtClean="0">
          <a:solidFill>
            <a:schemeClr val="bg1"/>
          </a:solidFill>
          <a:effectLst/>
          <a:latin typeface="+mn-lt"/>
          <a:ea typeface="Calibri" pitchFamily="34" charset="0"/>
          <a:cs typeface="+mn-cs"/>
        </a:defRPr>
      </a:lvl5pPr>
      <a:lvl6pPr marL="1536700" indent="-277813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>
          <a:solidFill>
            <a:srgbClr val="000000"/>
          </a:solidFill>
          <a:latin typeface="+mn-lt"/>
          <a:cs typeface="+mn-cs"/>
        </a:defRPr>
      </a:lvl6pPr>
      <a:lvl7pPr marL="1993900" indent="-277813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>
          <a:solidFill>
            <a:srgbClr val="000000"/>
          </a:solidFill>
          <a:latin typeface="+mn-lt"/>
          <a:cs typeface="+mn-cs"/>
        </a:defRPr>
      </a:lvl7pPr>
      <a:lvl8pPr marL="2451100" indent="-277813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>
          <a:solidFill>
            <a:srgbClr val="000000"/>
          </a:solidFill>
          <a:latin typeface="+mn-lt"/>
          <a:cs typeface="+mn-cs"/>
        </a:defRPr>
      </a:lvl8pPr>
      <a:lvl9pPr marL="2908300" indent="-277813" algn="l" rtl="0" fontAlgn="base">
        <a:spcBef>
          <a:spcPct val="20000"/>
        </a:spcBef>
        <a:spcAft>
          <a:spcPct val="0"/>
        </a:spcAft>
        <a:buClr>
          <a:schemeClr val="bg2"/>
        </a:buClr>
        <a:buSzPct val="80000"/>
        <a:buFont typeface="Wingdings" pitchFamily="2" charset="2"/>
        <a:buChar char="n"/>
        <a:defRPr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5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microsoft.com/office/2007/relationships/hdphoto" Target="../media/hdphoto2.wdp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7" Type="http://schemas.openxmlformats.org/officeDocument/2006/relationships/image" Target="../media/image61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2.xml"/><Relationship Id="rId6" Type="http://schemas.microsoft.com/office/2007/relationships/hdphoto" Target="../media/hdphoto5.wdp"/><Relationship Id="rId5" Type="http://schemas.openxmlformats.org/officeDocument/2006/relationships/image" Target="../media/image60.png"/><Relationship Id="rId4" Type="http://schemas.openxmlformats.org/officeDocument/2006/relationships/image" Target="../media/image5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microsoft.com/office/2007/relationships/hdphoto" Target="../media/hdphoto6.wdp"/><Relationship Id="rId4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microsoft.com/office/2007/relationships/hdphoto" Target="../media/hdphoto6.wdp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13" Type="http://schemas.openxmlformats.org/officeDocument/2006/relationships/image" Target="../media/image75.png"/><Relationship Id="rId18" Type="http://schemas.openxmlformats.org/officeDocument/2006/relationships/image" Target="../media/image80.png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83.png"/><Relationship Id="rId7" Type="http://schemas.openxmlformats.org/officeDocument/2006/relationships/image" Target="../media/image69.jpeg"/><Relationship Id="rId12" Type="http://schemas.openxmlformats.org/officeDocument/2006/relationships/image" Target="../media/image74.png"/><Relationship Id="rId17" Type="http://schemas.openxmlformats.org/officeDocument/2006/relationships/image" Target="../media/image79.jpeg"/><Relationship Id="rId25" Type="http://schemas.openxmlformats.org/officeDocument/2006/relationships/image" Target="../media/image87.jpeg"/><Relationship Id="rId2" Type="http://schemas.openxmlformats.org/officeDocument/2006/relationships/tags" Target="../tags/tag21.xml"/><Relationship Id="rId16" Type="http://schemas.openxmlformats.org/officeDocument/2006/relationships/image" Target="../media/image78.jpeg"/><Relationship Id="rId20" Type="http://schemas.openxmlformats.org/officeDocument/2006/relationships/image" Target="../media/image82.pn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8.jpg"/><Relationship Id="rId11" Type="http://schemas.openxmlformats.org/officeDocument/2006/relationships/image" Target="../media/image73.png"/><Relationship Id="rId24" Type="http://schemas.openxmlformats.org/officeDocument/2006/relationships/image" Target="../media/image86.jpeg"/><Relationship Id="rId5" Type="http://schemas.openxmlformats.org/officeDocument/2006/relationships/image" Target="../media/image7.emf"/><Relationship Id="rId15" Type="http://schemas.openxmlformats.org/officeDocument/2006/relationships/image" Target="../media/image77.jpeg"/><Relationship Id="rId23" Type="http://schemas.openxmlformats.org/officeDocument/2006/relationships/image" Target="../media/image85.jpeg"/><Relationship Id="rId10" Type="http://schemas.openxmlformats.org/officeDocument/2006/relationships/image" Target="../media/image72.jpeg"/><Relationship Id="rId19" Type="http://schemas.openxmlformats.org/officeDocument/2006/relationships/image" Target="../media/image81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71.jpeg"/><Relationship Id="rId14" Type="http://schemas.openxmlformats.org/officeDocument/2006/relationships/image" Target="../media/image76.png"/><Relationship Id="rId22" Type="http://schemas.openxmlformats.org/officeDocument/2006/relationships/image" Target="../media/image8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microsoft.com/office/2007/relationships/hdphoto" Target="../media/hdphoto3.wdp"/><Relationship Id="rId7" Type="http://schemas.microsoft.com/office/2007/relationships/hdphoto" Target="../media/hdphoto4.wdp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microsoft.com/office/2007/relationships/hdphoto" Target="../media/hdphoto6.wdp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microsoft.com/office/2007/relationships/hdphoto" Target="../media/hdphoto7.wdp"/><Relationship Id="rId7" Type="http://schemas.openxmlformats.org/officeDocument/2006/relationships/image" Target="../media/image91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microsoft.com/office/2007/relationships/hdphoto" Target="../media/hdphoto8.wdp"/><Relationship Id="rId10" Type="http://schemas.openxmlformats.org/officeDocument/2006/relationships/image" Target="../media/image94.png"/><Relationship Id="rId4" Type="http://schemas.openxmlformats.org/officeDocument/2006/relationships/image" Target="../media/image89.png"/><Relationship Id="rId9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09.png"/><Relationship Id="rId4" Type="http://schemas.openxmlformats.org/officeDocument/2006/relationships/image" Target="../media/image105.png"/><Relationship Id="rId9" Type="http://schemas.openxmlformats.org/officeDocument/2006/relationships/image" Target="../media/image10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11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7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jpe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6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43.jpe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2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microsoft.com/office/2007/relationships/hdphoto" Target="../media/hdphoto2.wdp"/><Relationship Id="rId4" Type="http://schemas.openxmlformats.org/officeDocument/2006/relationships/image" Target="../media/image46.png"/><Relationship Id="rId9" Type="http://schemas.openxmlformats.org/officeDocument/2006/relationships/image" Target="../media/image4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83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"/>
          <a:stretch/>
        </p:blipFill>
        <p:spPr bwMode="auto">
          <a:xfrm>
            <a:off x="0" y="1344060"/>
            <a:ext cx="9144000" cy="5469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801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9" name="Rectangle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6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5" name="Rectangle 9" hidden="1"/>
          <p:cNvSpPr>
            <a:spLocks noGrp="1" noChangeArrowheads="1"/>
          </p:cNvSpPr>
          <p:nvPr>
            <p:ph idx="1"/>
          </p:nvPr>
        </p:nvSpPr>
        <p:spPr>
          <a:xfrm>
            <a:off x="539751" y="2296160"/>
            <a:ext cx="8064500" cy="237278"/>
          </a:xfrm>
        </p:spPr>
        <p:txBody>
          <a:bodyPr/>
          <a:lstStyle/>
          <a:p>
            <a:r>
              <a:rPr lang="de-AT" altLang="de-DE" smtClean="0"/>
              <a:t>37</a:t>
            </a:r>
          </a:p>
        </p:txBody>
      </p:sp>
      <p:grpSp>
        <p:nvGrpSpPr>
          <p:cNvPr id="19" name="Gruppieren 18"/>
          <p:cNvGrpSpPr/>
          <p:nvPr/>
        </p:nvGrpSpPr>
        <p:grpSpPr>
          <a:xfrm>
            <a:off x="2218020" y="3672716"/>
            <a:ext cx="2356110" cy="1944708"/>
            <a:chOff x="1966509" y="4148203"/>
            <a:chExt cx="2356110" cy="1944708"/>
          </a:xfrm>
          <a:effectLst>
            <a:outerShdw blurRad="190500" algn="ctr" rotWithShape="0">
              <a:schemeClr val="bg1"/>
            </a:outerShdw>
          </a:effectLst>
        </p:grpSpPr>
        <p:pic>
          <p:nvPicPr>
            <p:cNvPr id="17" name="Grafik 16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66509" y="5221943"/>
              <a:ext cx="2356110" cy="870968"/>
            </a:xfrm>
            <a:prstGeom prst="rect">
              <a:avLst/>
            </a:prstGeom>
          </p:spPr>
        </p:pic>
        <p:pic>
          <p:nvPicPr>
            <p:cNvPr id="31" name="Grafik 30"/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41979" y="4148203"/>
              <a:ext cx="973876" cy="1222213"/>
            </a:xfrm>
            <a:prstGeom prst="rect">
              <a:avLst/>
            </a:prstGeom>
          </p:spPr>
        </p:pic>
      </p:grpSp>
      <p:pic>
        <p:nvPicPr>
          <p:cNvPr id="605201" name="Picture 17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970812">
            <a:off x="436958" y="1959679"/>
            <a:ext cx="2017460" cy="1362884"/>
          </a:xfrm>
          <a:prstGeom prst="ellipse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ffectLst>
            <a:outerShdw blurRad="101600" dist="88900" dir="2700000" algn="tl" rotWithShape="0">
              <a:prstClr val="black">
                <a:alpha val="5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05203" name="Picture 19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5319" y="1787282"/>
            <a:ext cx="1997075" cy="1982245"/>
          </a:xfrm>
          <a:prstGeom prst="rect">
            <a:avLst/>
          </a:prstGeom>
          <a:noFill/>
          <a:ln>
            <a:noFill/>
          </a:ln>
          <a:effectLst>
            <a:outerShdw blurRad="50800" dist="88900" dir="2700000" algn="tl" rotWithShape="0">
              <a:prstClr val="black">
                <a:alpha val="2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3148" y="4160133"/>
            <a:ext cx="2143813" cy="1469592"/>
          </a:xfrm>
          <a:prstGeom prst="rect">
            <a:avLst/>
          </a:prstGeom>
          <a:noFill/>
          <a:ln>
            <a:noFill/>
          </a:ln>
          <a:effectLst>
            <a:outerShdw blurRad="50800" dist="88900" dir="2700000" algn="tl" rotWithShape="0">
              <a:prstClr val="black">
                <a:alpha val="25000"/>
              </a:prstClr>
            </a:outerShdw>
          </a:effectLst>
        </p:spPr>
      </p:pic>
      <p:sp>
        <p:nvSpPr>
          <p:cNvPr id="12" name="Titel 1"/>
          <p:cNvSpPr txBox="1">
            <a:spLocks/>
          </p:cNvSpPr>
          <p:nvPr/>
        </p:nvSpPr>
        <p:spPr>
          <a:xfrm>
            <a:off x="1187281" y="381158"/>
            <a:ext cx="7659210" cy="70788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9569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bg-BG" dirty="0">
                <a:solidFill>
                  <a:schemeClr val="bg1">
                    <a:lumMod val="50000"/>
                  </a:schemeClr>
                </a:solidFill>
              </a:rPr>
              <a:t>МЕЖДУНАРОДНО ПРИЗНАТИ </a:t>
            </a:r>
            <a:r>
              <a:rPr lang="bg-BG" dirty="0" smtClean="0">
                <a:solidFill>
                  <a:schemeClr val="bg1">
                    <a:lumMod val="50000"/>
                  </a:schemeClr>
                </a:solidFill>
              </a:rPr>
              <a:t>СЕРТИФИКАТИ ЗА КАЧЕСТВО</a:t>
            </a:r>
            <a:endParaRPr lang="bg-BG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45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1113298" y="517274"/>
            <a:ext cx="870494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3600" b="1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Calibri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LR</a:t>
            </a:r>
            <a:r>
              <a:rPr kumimoji="0" lang="bg-BG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 факторите на успеха 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Rechteck 52"/>
          <p:cNvSpPr/>
          <p:nvPr/>
        </p:nvSpPr>
        <p:spPr>
          <a:xfrm>
            <a:off x="7298308" y="149306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7495774" y="2236456"/>
            <a:ext cx="121347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служване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8499859" y="149306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5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9" name="Picture 15" descr="Bild12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8308" y="3235644"/>
            <a:ext cx="1608406" cy="1735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49"/>
          <p:cNvSpPr/>
          <p:nvPr/>
        </p:nvSpPr>
        <p:spPr>
          <a:xfrm>
            <a:off x="5551005" y="149306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1" name="Rectangle 10"/>
          <p:cNvSpPr txBox="1">
            <a:spLocks noChangeArrowheads="1"/>
          </p:cNvSpPr>
          <p:nvPr/>
        </p:nvSpPr>
        <p:spPr bwMode="auto">
          <a:xfrm>
            <a:off x="5641674" y="2243630"/>
            <a:ext cx="14234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втомобили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6752556" y="149306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4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3" name="Picture 3" descr="Autokonzept_Flyer_NEU"/>
          <p:cNvPicPr preferRelativeResize="0"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51005" y="3235644"/>
            <a:ext cx="1608406" cy="173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46"/>
          <p:cNvSpPr/>
          <p:nvPr/>
        </p:nvSpPr>
        <p:spPr>
          <a:xfrm>
            <a:off x="3803702" y="149306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5" name="Rectangle 8"/>
          <p:cNvSpPr txBox="1">
            <a:spLocks noChangeArrowheads="1"/>
          </p:cNvSpPr>
          <p:nvPr/>
        </p:nvSpPr>
        <p:spPr bwMode="auto">
          <a:xfrm>
            <a:off x="3930829" y="2276872"/>
            <a:ext cx="135415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Ясна </a:t>
            </a: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п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розрачна система за </a:t>
            </a:r>
            <a:r>
              <a:rPr lang="ru-RU" altLang="de-DE" sz="1400" b="1" dirty="0" err="1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възнаграждения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5005253" y="149306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3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7" name="Rechteck 4"/>
          <p:cNvSpPr/>
          <p:nvPr/>
        </p:nvSpPr>
        <p:spPr>
          <a:xfrm>
            <a:off x="309096" y="149306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8" name="Rectangle 35"/>
          <p:cNvSpPr txBox="1">
            <a:spLocks noChangeArrowheads="1"/>
          </p:cNvSpPr>
          <p:nvPr/>
        </p:nvSpPr>
        <p:spPr bwMode="auto">
          <a:xfrm>
            <a:off x="433625" y="2236456"/>
            <a:ext cx="13593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marL="0" indent="0" algn="ctr" eaLnBrk="1" hangingPunct="1">
              <a:spcBef>
                <a:spcPts val="0"/>
              </a:spcBef>
              <a:defRPr sz="1800" b="1" kern="0" spc="0" baseline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 marL="200025" indent="-198438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defTabSz="914400" fontAlgn="base">
              <a:spcAft>
                <a:spcPct val="0"/>
              </a:spcAft>
            </a:pP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Топ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 </a:t>
            </a: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продукти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/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Made</a:t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in Germany</a:t>
            </a:r>
          </a:p>
        </p:txBody>
      </p:sp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1510647" y="149306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algn="ctr" eaLnBrk="0" hangingPunct="0">
              <a:defRPr sz="4800" b="1" spc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1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096" y="3235220"/>
            <a:ext cx="1608406" cy="173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hteck 58"/>
          <p:cNvSpPr/>
          <p:nvPr/>
        </p:nvSpPr>
        <p:spPr>
          <a:xfrm>
            <a:off x="2027842" y="1493061"/>
            <a:ext cx="1636963" cy="1742583"/>
          </a:xfrm>
          <a:prstGeom prst="rect">
            <a:avLst/>
          </a:prstGeom>
          <a:solidFill>
            <a:srgbClr val="78876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2" name="Rectangle 31"/>
          <p:cNvSpPr txBox="1">
            <a:spLocks noChangeArrowheads="1"/>
          </p:cNvSpPr>
          <p:nvPr/>
        </p:nvSpPr>
        <p:spPr bwMode="auto">
          <a:xfrm>
            <a:off x="2061613" y="2243630"/>
            <a:ext cx="166552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FFFFFF"/>
                </a:solidFill>
                <a:latin typeface="Calibri"/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FFFFFF"/>
                </a:solidFill>
                <a:latin typeface="Calibri"/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FFFFFF"/>
                </a:solidFill>
                <a:latin typeface="Calibri"/>
              </a:rPr>
              <a:t>знаменитости</a:t>
            </a: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3286596" y="149306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Calibri"/>
              </a:rPr>
              <a:t>2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latin typeface="Calibri"/>
            </a:endParaRPr>
          </a:p>
        </p:txBody>
      </p:sp>
      <p:pic>
        <p:nvPicPr>
          <p:cNvPr id="24" name="Picture 133" descr="C:\Users\cabral\AppData\Local\Microsoft\Windows\Temporary Internet Files\Content.Outlook\IW0RRCBJ\Bruce02 1.jp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7842" y="3287312"/>
            <a:ext cx="3335337" cy="352206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210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/>
        </p:nvGrpSpPr>
        <p:grpSpPr>
          <a:xfrm>
            <a:off x="121920" y="411355"/>
            <a:ext cx="9200808" cy="6111114"/>
            <a:chOff x="9408622" y="446388"/>
            <a:chExt cx="9149478" cy="622257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5" name="Picture 2" descr="Collection Titel 01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9608457" y="446388"/>
              <a:ext cx="2660073" cy="330430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3" descr="Titel_2009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5181322" y="446388"/>
              <a:ext cx="2669533" cy="330430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5" descr="Collection_01_2013_Titel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472064" y="446388"/>
              <a:ext cx="2662948" cy="3304309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5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3803538" y="4093234"/>
              <a:ext cx="4754562" cy="25757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5" descr="URB_914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9408622" y="4093235"/>
              <a:ext cx="4702145" cy="2575725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2166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1089922" y="539218"/>
            <a:ext cx="824805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3600" b="1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Calibri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LR</a:t>
            </a:r>
            <a:r>
              <a:rPr kumimoji="0" lang="bg-BG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 факторите на успеха 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Rechteck 52"/>
          <p:cNvSpPr/>
          <p:nvPr/>
        </p:nvSpPr>
        <p:spPr>
          <a:xfrm>
            <a:off x="7274931" y="148060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7472397" y="2223996"/>
            <a:ext cx="121347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служване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8476482" y="148060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5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9" name="Picture 15" descr="Bild12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74931" y="3223184"/>
            <a:ext cx="1608406" cy="1735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49"/>
          <p:cNvSpPr/>
          <p:nvPr/>
        </p:nvSpPr>
        <p:spPr>
          <a:xfrm>
            <a:off x="5527628" y="148060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1" name="Rectangle 10"/>
          <p:cNvSpPr txBox="1">
            <a:spLocks noChangeArrowheads="1"/>
          </p:cNvSpPr>
          <p:nvPr/>
        </p:nvSpPr>
        <p:spPr bwMode="auto">
          <a:xfrm>
            <a:off x="5620097" y="2223996"/>
            <a:ext cx="14234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втомобили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6729179" y="148060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4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3" name="Rechteck 43"/>
          <p:cNvSpPr/>
          <p:nvPr/>
        </p:nvSpPr>
        <p:spPr>
          <a:xfrm>
            <a:off x="2033022" y="148060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4" name="Rectangle 31"/>
          <p:cNvSpPr txBox="1">
            <a:spLocks noChangeArrowheads="1"/>
          </p:cNvSpPr>
          <p:nvPr/>
        </p:nvSpPr>
        <p:spPr bwMode="auto">
          <a:xfrm>
            <a:off x="2033022" y="2223996"/>
            <a:ext cx="166552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знаменитости</a:t>
            </a: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3234573" y="148060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2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6" name="Picture 133" descr="C:\Users\cabral\AppData\Local\Microsoft\Windows\Temporary Internet Files\Content.Outlook\IW0RRCBJ\Bruce02 1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33022" y="3223184"/>
            <a:ext cx="1608406" cy="1735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4"/>
          <p:cNvSpPr/>
          <p:nvPr/>
        </p:nvSpPr>
        <p:spPr>
          <a:xfrm>
            <a:off x="285719" y="148060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8" name="Rectangle 35"/>
          <p:cNvSpPr txBox="1">
            <a:spLocks noChangeArrowheads="1"/>
          </p:cNvSpPr>
          <p:nvPr/>
        </p:nvSpPr>
        <p:spPr bwMode="auto">
          <a:xfrm>
            <a:off x="410250" y="2223996"/>
            <a:ext cx="13593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marL="0" indent="0" algn="ctr" eaLnBrk="1" hangingPunct="1">
              <a:spcBef>
                <a:spcPts val="0"/>
              </a:spcBef>
              <a:defRPr sz="1800" b="1" kern="0" spc="0" baseline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 marL="200025" indent="-198438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defTabSz="914400" fontAlgn="base">
              <a:spcAft>
                <a:spcPct val="0"/>
              </a:spcAft>
            </a:pP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Топ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 </a:t>
            </a: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продукти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/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Made</a:t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in Germany</a:t>
            </a:r>
          </a:p>
        </p:txBody>
      </p:sp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1487270" y="148060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algn="ctr" eaLnBrk="0" hangingPunct="0">
              <a:defRPr sz="4800" b="1" spc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1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719" y="3223184"/>
            <a:ext cx="1608406" cy="173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hteck 75"/>
          <p:cNvSpPr/>
          <p:nvPr/>
        </p:nvSpPr>
        <p:spPr>
          <a:xfrm>
            <a:off x="3698542" y="1480601"/>
            <a:ext cx="1770091" cy="1742583"/>
          </a:xfrm>
          <a:prstGeom prst="rect">
            <a:avLst/>
          </a:prstGeom>
          <a:solidFill>
            <a:srgbClr val="78876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2" name="Rectangle 8"/>
          <p:cNvSpPr txBox="1">
            <a:spLocks noChangeArrowheads="1"/>
          </p:cNvSpPr>
          <p:nvPr/>
        </p:nvSpPr>
        <p:spPr bwMode="auto">
          <a:xfrm>
            <a:off x="3621780" y="2070108"/>
            <a:ext cx="1903597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ru-RU" altLang="de-DE" sz="1600" b="1" dirty="0" err="1">
                <a:solidFill>
                  <a:srgbClr val="FFFFFF"/>
                </a:solidFill>
              </a:rPr>
              <a:t>Яснa</a:t>
            </a:r>
            <a:r>
              <a:rPr lang="ru-RU" altLang="de-DE" sz="1600" b="1" dirty="0">
                <a:solidFill>
                  <a:srgbClr val="FFFFFF"/>
                </a:solidFill>
              </a:rPr>
              <a:t> 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600" b="1" dirty="0" err="1">
                <a:solidFill>
                  <a:srgbClr val="FFFFFF"/>
                </a:solidFill>
              </a:rPr>
              <a:t>прозрачнa</a:t>
            </a:r>
            <a:r>
              <a:rPr lang="ru-RU" altLang="de-DE" sz="1600" b="1" dirty="0">
                <a:solidFill>
                  <a:srgbClr val="FFFFFF"/>
                </a:solidFill>
              </a:rPr>
              <a:t>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600" b="1" dirty="0">
                <a:solidFill>
                  <a:srgbClr val="FFFFFF"/>
                </a:solidFill>
              </a:rPr>
              <a:t>система за </a:t>
            </a:r>
            <a:r>
              <a:rPr lang="ru-RU" altLang="de-DE" sz="1600" b="1" dirty="0" err="1">
                <a:solidFill>
                  <a:srgbClr val="FFFFFF"/>
                </a:solidFill>
              </a:rPr>
              <a:t>възнаграждения</a:t>
            </a:r>
            <a:endParaRPr lang="ru-RU" altLang="de-DE" sz="1600" b="1" dirty="0">
              <a:solidFill>
                <a:srgbClr val="FFFFFF"/>
              </a:solidFill>
            </a:endParaRP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4981876" y="148060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dirty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Calibri"/>
              </a:rPr>
              <a:t>3</a:t>
            </a:r>
            <a:endParaRPr lang="en-US" sz="4800" spc="0" dirty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latin typeface="Calibri"/>
            </a:endParaRPr>
          </a:p>
        </p:txBody>
      </p:sp>
      <p:pic>
        <p:nvPicPr>
          <p:cNvPr id="24" name="Picture 7" descr="Bild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1233" y="3223184"/>
            <a:ext cx="3334802" cy="363481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521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3" name="Rectangle 1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451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9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32"/>
          <p:cNvSpPr/>
          <p:nvPr/>
        </p:nvSpPr>
        <p:spPr>
          <a:xfrm>
            <a:off x="2853864" y="1663509"/>
            <a:ext cx="3723587" cy="163602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2853864" y="1663509"/>
            <a:ext cx="3723587" cy="1636023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25000"/>
                </a:scheme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04941" cy="984885"/>
          </a:xfrm>
        </p:spPr>
        <p:txBody>
          <a:bodyPr/>
          <a:lstStyle/>
          <a:p>
            <a:r>
              <a:rPr lang="bg-BG" sz="3200" dirty="0" smtClean="0"/>
              <a:t>Историческо развитие на системата за възнаграждение</a:t>
            </a:r>
            <a:endParaRPr lang="en-US" sz="3200" dirty="0"/>
          </a:p>
        </p:txBody>
      </p:sp>
      <p:sp>
        <p:nvSpPr>
          <p:cNvPr id="68" name="Rectangle 32"/>
          <p:cNvSpPr txBox="1">
            <a:spLocks noChangeArrowheads="1"/>
          </p:cNvSpPr>
          <p:nvPr/>
        </p:nvSpPr>
        <p:spPr bwMode="gray">
          <a:xfrm>
            <a:off x="6706179" y="3068960"/>
            <a:ext cx="2330317" cy="215444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algn="ctr" fontAlgn="base">
              <a:spcBef>
                <a:spcPct val="3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de-DE" altLang="de-DE" sz="1400" i="1" dirty="0" smtClean="0">
                <a:solidFill>
                  <a:srgbClr val="FFFFFF"/>
                </a:solidFill>
              </a:rPr>
              <a:t>+ </a:t>
            </a:r>
            <a:r>
              <a:rPr lang="bg-BG" altLang="de-DE" sz="1200" i="1" dirty="0" smtClean="0">
                <a:solidFill>
                  <a:srgbClr val="FFFFFF"/>
                </a:solidFill>
              </a:rPr>
              <a:t>бонус за обучения и семинари</a:t>
            </a:r>
            <a:endParaRPr lang="de-DE" altLang="de-DE" sz="1200" i="1" dirty="0" smtClean="0">
              <a:solidFill>
                <a:srgbClr val="FFFFFF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06720" y="5665788"/>
            <a:ext cx="6270731" cy="914400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25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Rectangle 11"/>
          <p:cNvSpPr txBox="1">
            <a:spLocks noChangeArrowheads="1"/>
          </p:cNvSpPr>
          <p:nvPr/>
        </p:nvSpPr>
        <p:spPr bwMode="gray">
          <a:xfrm>
            <a:off x="516409" y="5679789"/>
            <a:ext cx="1685526" cy="88639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/>
              <a:t>Бонус</a:t>
            </a:r>
            <a:endParaRPr lang="de-DE" altLang="de-DE" dirty="0" smtClean="0"/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/>
              <a:t>Специален бонус</a:t>
            </a:r>
            <a:endParaRPr lang="de-DE" altLang="de-DE" dirty="0" smtClean="0"/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/>
              <a:t>Годишен бонус</a:t>
            </a:r>
            <a:endParaRPr lang="de-DE" altLang="de-DE" dirty="0" smtClean="0"/>
          </a:p>
        </p:txBody>
      </p:sp>
      <p:sp>
        <p:nvSpPr>
          <p:cNvPr id="57" name="Rectangle 12"/>
          <p:cNvSpPr txBox="1">
            <a:spLocks noChangeArrowheads="1"/>
          </p:cNvSpPr>
          <p:nvPr/>
        </p:nvSpPr>
        <p:spPr bwMode="gray">
          <a:xfrm>
            <a:off x="5817553" y="5679789"/>
            <a:ext cx="577081" cy="88639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3-21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7-10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1-2,5%</a:t>
            </a:r>
          </a:p>
        </p:txBody>
      </p:sp>
      <p:sp>
        <p:nvSpPr>
          <p:cNvPr id="67" name="Rectangle 30"/>
          <p:cNvSpPr txBox="1">
            <a:spLocks noChangeArrowheads="1"/>
          </p:cNvSpPr>
          <p:nvPr/>
        </p:nvSpPr>
        <p:spPr>
          <a:xfrm>
            <a:off x="7487536" y="5762988"/>
            <a:ext cx="720000" cy="720000"/>
          </a:xfrm>
          <a:prstGeom prst="ellipse">
            <a:avLst/>
          </a:prstGeom>
          <a:solidFill>
            <a:srgbClr val="9CAA8A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en-US" altLang="de-DE" sz="1800" b="1" smtClean="0">
                <a:solidFill>
                  <a:srgbClr val="FFFFFF"/>
                </a:solidFill>
              </a:rPr>
              <a:t>33,5%</a:t>
            </a:r>
          </a:p>
        </p:txBody>
      </p:sp>
      <p:sp>
        <p:nvSpPr>
          <p:cNvPr id="81" name="Rectangle 11"/>
          <p:cNvSpPr txBox="1">
            <a:spLocks noChangeArrowheads="1"/>
          </p:cNvSpPr>
          <p:nvPr/>
        </p:nvSpPr>
        <p:spPr bwMode="gray">
          <a:xfrm>
            <a:off x="306720" y="5388789"/>
            <a:ext cx="468077" cy="276999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25400" h="25400"/>
            </a:sp3d>
          </a:bodyPr>
          <a:lstStyle>
            <a:defPPr>
              <a:defRPr lang="de-DE"/>
            </a:defPPr>
            <a:lvl1pPr algn="ctr" eaLnBrk="0" hangingPunct="0">
              <a:defRPr sz="4800" b="1" spc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1800" dirty="0">
                <a:gradFill flip="none" rotWithShape="1">
                  <a:gsLst>
                    <a:gs pos="0">
                      <a:srgbClr val="FFFFFF"/>
                    </a:gs>
                    <a:gs pos="7001">
                      <a:srgbClr val="E6E6E6"/>
                    </a:gs>
                    <a:gs pos="32001">
                      <a:srgbClr val="7D8496"/>
                    </a:gs>
                    <a:gs pos="47000">
                      <a:srgbClr val="E6E6E6"/>
                    </a:gs>
                    <a:gs pos="85001">
                      <a:srgbClr val="7D8496"/>
                    </a:gs>
                    <a:gs pos="100000">
                      <a:srgbClr val="E6E6E6"/>
                    </a:gs>
                  </a:gsLst>
                  <a:lin ang="5400000" scaled="0"/>
                  <a:tileRect/>
                </a:gradFill>
              </a:rPr>
              <a:t>1985</a:t>
            </a:r>
          </a:p>
        </p:txBody>
      </p:sp>
      <p:sp>
        <p:nvSpPr>
          <p:cNvPr id="77" name="Rechteck 76"/>
          <p:cNvSpPr/>
          <p:nvPr/>
        </p:nvSpPr>
        <p:spPr>
          <a:xfrm>
            <a:off x="1155768" y="4572236"/>
            <a:ext cx="5421683" cy="914400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25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8" name="Rectangle 13"/>
          <p:cNvSpPr txBox="1">
            <a:spLocks noChangeArrowheads="1"/>
          </p:cNvSpPr>
          <p:nvPr/>
        </p:nvSpPr>
        <p:spPr bwMode="gray">
          <a:xfrm>
            <a:off x="1365457" y="4746282"/>
            <a:ext cx="1589346" cy="566309"/>
          </a:xfrm>
          <a:prstGeom prst="rect">
            <a:avLst/>
          </a:prstGeom>
          <a:noFill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/>
              <a:t>Сребърен бонус</a:t>
            </a:r>
            <a:endParaRPr lang="de-DE" altLang="de-DE" dirty="0" smtClean="0"/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/>
              <a:t>Платинен бонус</a:t>
            </a:r>
            <a:endParaRPr lang="de-DE" altLang="de-DE" dirty="0" smtClean="0"/>
          </a:p>
        </p:txBody>
      </p:sp>
      <p:sp>
        <p:nvSpPr>
          <p:cNvPr id="59" name="Rectangle 14"/>
          <p:cNvSpPr txBox="1">
            <a:spLocks noChangeArrowheads="1"/>
          </p:cNvSpPr>
          <p:nvPr/>
        </p:nvSpPr>
        <p:spPr bwMode="gray">
          <a:xfrm>
            <a:off x="6141360" y="4746282"/>
            <a:ext cx="253274" cy="566309"/>
          </a:xfrm>
          <a:prstGeom prst="rect">
            <a:avLst/>
          </a:prstGeom>
          <a:noFill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2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1%</a:t>
            </a:r>
          </a:p>
        </p:txBody>
      </p:sp>
      <p:sp>
        <p:nvSpPr>
          <p:cNvPr id="66" name="Rectangle 28"/>
          <p:cNvSpPr txBox="1">
            <a:spLocks noChangeArrowheads="1"/>
          </p:cNvSpPr>
          <p:nvPr/>
        </p:nvSpPr>
        <p:spPr>
          <a:xfrm>
            <a:off x="7487536" y="4669436"/>
            <a:ext cx="720000" cy="720000"/>
          </a:xfrm>
          <a:prstGeom prst="ellipse">
            <a:avLst/>
          </a:prstGeom>
          <a:solidFill>
            <a:srgbClr val="9CAA8A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en-US" altLang="de-DE" sz="1800" b="1" smtClean="0">
                <a:solidFill>
                  <a:srgbClr val="FFFFFF"/>
                </a:solidFill>
              </a:rPr>
              <a:t>36,5%</a:t>
            </a:r>
          </a:p>
        </p:txBody>
      </p:sp>
      <p:sp>
        <p:nvSpPr>
          <p:cNvPr id="82" name="Rectangle 13"/>
          <p:cNvSpPr txBox="1">
            <a:spLocks noChangeArrowheads="1"/>
          </p:cNvSpPr>
          <p:nvPr/>
        </p:nvSpPr>
        <p:spPr bwMode="gray">
          <a:xfrm>
            <a:off x="1155768" y="4264459"/>
            <a:ext cx="519373" cy="307777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25400" h="25400"/>
            </a:sp3d>
          </a:bodyPr>
          <a:lstStyle>
            <a:defPPr>
              <a:defRPr lang="de-DE"/>
            </a:defPPr>
            <a:lvl1pPr algn="ctr" eaLnBrk="0" hangingPunct="0">
              <a:defRPr sz="4800" b="1" spc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2000" dirty="0">
                <a:gradFill flip="none" rotWithShape="1">
                  <a:gsLst>
                    <a:gs pos="0">
                      <a:srgbClr val="FFFFFF"/>
                    </a:gs>
                    <a:gs pos="7001">
                      <a:srgbClr val="E6E6E6"/>
                    </a:gs>
                    <a:gs pos="32001">
                      <a:srgbClr val="7D8496"/>
                    </a:gs>
                    <a:gs pos="47000">
                      <a:srgbClr val="E6E6E6"/>
                    </a:gs>
                    <a:gs pos="85001">
                      <a:srgbClr val="7D8496"/>
                    </a:gs>
                    <a:gs pos="100000">
                      <a:srgbClr val="E6E6E6"/>
                    </a:gs>
                  </a:gsLst>
                  <a:lin ang="5400000" scaled="0"/>
                  <a:tileRect/>
                </a:gradFill>
              </a:rPr>
              <a:t>1995</a:t>
            </a:r>
          </a:p>
        </p:txBody>
      </p:sp>
      <p:sp>
        <p:nvSpPr>
          <p:cNvPr id="78" name="Rechteck 77"/>
          <p:cNvSpPr/>
          <p:nvPr/>
        </p:nvSpPr>
        <p:spPr>
          <a:xfrm>
            <a:off x="2004816" y="3478684"/>
            <a:ext cx="4572635" cy="914400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100000">
                <a:schemeClr val="bg1">
                  <a:alpha val="2500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0" name="Rectangle 15"/>
          <p:cNvSpPr txBox="1">
            <a:spLocks noChangeArrowheads="1"/>
          </p:cNvSpPr>
          <p:nvPr/>
        </p:nvSpPr>
        <p:spPr bwMode="gray">
          <a:xfrm>
            <a:off x="2214505" y="3652730"/>
            <a:ext cx="2446888" cy="56630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/>
              <a:t>Президентски бонус </a:t>
            </a:r>
            <a:endParaRPr lang="bg-BG" altLang="de-DE" dirty="0" smtClean="0"/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/>
              <a:t>Топ-Президентски бонус </a:t>
            </a:r>
            <a:endParaRPr lang="de-DE" altLang="de-DE" dirty="0" smtClean="0"/>
          </a:p>
        </p:txBody>
      </p:sp>
      <p:sp>
        <p:nvSpPr>
          <p:cNvPr id="61" name="Rectangle 16"/>
          <p:cNvSpPr txBox="1">
            <a:spLocks noChangeArrowheads="1"/>
          </p:cNvSpPr>
          <p:nvPr/>
        </p:nvSpPr>
        <p:spPr bwMode="gray">
          <a:xfrm>
            <a:off x="5984265" y="3652730"/>
            <a:ext cx="410369" cy="56630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0,5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/>
              <a:t>0,5%</a:t>
            </a:r>
          </a:p>
        </p:txBody>
      </p:sp>
      <p:sp>
        <p:nvSpPr>
          <p:cNvPr id="64" name="Rectangle 24"/>
          <p:cNvSpPr txBox="1">
            <a:spLocks noChangeArrowheads="1"/>
          </p:cNvSpPr>
          <p:nvPr/>
        </p:nvSpPr>
        <p:spPr>
          <a:xfrm>
            <a:off x="7487536" y="3575884"/>
            <a:ext cx="720000" cy="720000"/>
          </a:xfrm>
          <a:prstGeom prst="ellipse">
            <a:avLst/>
          </a:prstGeom>
          <a:solidFill>
            <a:srgbClr val="9CAA8A"/>
          </a:solidFill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en-US" altLang="de-DE" sz="1800" b="1" dirty="0" smtClean="0">
                <a:solidFill>
                  <a:srgbClr val="FFFFFF"/>
                </a:solidFill>
              </a:rPr>
              <a:t>37,5%</a:t>
            </a:r>
          </a:p>
        </p:txBody>
      </p:sp>
      <p:sp>
        <p:nvSpPr>
          <p:cNvPr id="83" name="Rectangle 15"/>
          <p:cNvSpPr txBox="1">
            <a:spLocks noChangeArrowheads="1"/>
          </p:cNvSpPr>
          <p:nvPr/>
        </p:nvSpPr>
        <p:spPr bwMode="gray">
          <a:xfrm>
            <a:off x="2004816" y="3109352"/>
            <a:ext cx="621965" cy="369332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25400" h="25400"/>
            </a:sp3d>
          </a:bodyPr>
          <a:lstStyle>
            <a:defPPr>
              <a:defRPr lang="de-DE"/>
            </a:defPPr>
            <a:lvl1pPr algn="ctr" eaLnBrk="0" hangingPunct="0">
              <a:defRPr sz="4800" b="1" spc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2400" dirty="0">
                <a:gradFill flip="none" rotWithShape="1">
                  <a:gsLst>
                    <a:gs pos="0">
                      <a:srgbClr val="FFFFFF"/>
                    </a:gs>
                    <a:gs pos="7001">
                      <a:srgbClr val="E6E6E6"/>
                    </a:gs>
                    <a:gs pos="32001">
                      <a:srgbClr val="7D8496"/>
                    </a:gs>
                    <a:gs pos="47000">
                      <a:srgbClr val="E6E6E6"/>
                    </a:gs>
                    <a:gs pos="85001">
                      <a:srgbClr val="7D8496"/>
                    </a:gs>
                    <a:gs pos="100000">
                      <a:srgbClr val="E6E6E6"/>
                    </a:gs>
                  </a:gsLst>
                  <a:lin ang="5400000" scaled="0"/>
                  <a:tileRect/>
                </a:gradFill>
              </a:rPr>
              <a:t>2005</a:t>
            </a:r>
          </a:p>
        </p:txBody>
      </p:sp>
      <p:sp>
        <p:nvSpPr>
          <p:cNvPr id="62" name="Rectangle 21"/>
          <p:cNvSpPr txBox="1">
            <a:spLocks noChangeArrowheads="1"/>
          </p:cNvSpPr>
          <p:nvPr/>
        </p:nvSpPr>
        <p:spPr bwMode="gray">
          <a:xfrm>
            <a:off x="2843808" y="1736986"/>
            <a:ext cx="3693319" cy="152657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>
                <a:solidFill>
                  <a:srgbClr val="FFFFFF"/>
                </a:solidFill>
              </a:rPr>
              <a:t>Бърз старт</a:t>
            </a:r>
            <a:endParaRPr lang="de-DE" altLang="de-DE" dirty="0" smtClean="0">
              <a:solidFill>
                <a:srgbClr val="FFFFFF"/>
              </a:solidFill>
            </a:endParaRPr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>
                <a:solidFill>
                  <a:srgbClr val="FFFFFF"/>
                </a:solidFill>
              </a:rPr>
              <a:t>Лидерски бонус</a:t>
            </a:r>
            <a:endParaRPr lang="de-DE" altLang="de-DE" dirty="0" smtClean="0">
              <a:solidFill>
                <a:srgbClr val="FFFFFF"/>
              </a:solidFill>
            </a:endParaRPr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>
                <a:solidFill>
                  <a:srgbClr val="FFFFFF"/>
                </a:solidFill>
              </a:rPr>
              <a:t>Топ-сребърен бонус</a:t>
            </a:r>
            <a:endParaRPr lang="de-DE" altLang="de-DE" dirty="0" smtClean="0">
              <a:solidFill>
                <a:srgbClr val="FFFFFF"/>
              </a:solidFill>
            </a:endParaRPr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>
                <a:solidFill>
                  <a:srgbClr val="FFFFFF"/>
                </a:solidFill>
              </a:rPr>
              <a:t>Топ-платинен бонус</a:t>
            </a:r>
            <a:endParaRPr lang="de-DE" altLang="de-DE" dirty="0" smtClean="0">
              <a:solidFill>
                <a:srgbClr val="FFFFFF"/>
              </a:solidFill>
            </a:endParaRPr>
          </a:p>
          <a:p>
            <a:pPr marL="177800" lvl="1" indent="-177800" fontAlgn="base">
              <a:spcBef>
                <a:spcPct val="30000"/>
              </a:spcBef>
              <a:spcAft>
                <a:spcPct val="0"/>
              </a:spcAft>
              <a:buClrTx/>
            </a:pPr>
            <a:r>
              <a:rPr lang="bg-BG" altLang="de-DE" dirty="0" smtClean="0">
                <a:solidFill>
                  <a:srgbClr val="FFFFFF"/>
                </a:solidFill>
              </a:rPr>
              <a:t>Президентски бонус</a:t>
            </a:r>
            <a:r>
              <a:rPr lang="de-DE" altLang="de-DE" dirty="0" smtClean="0">
                <a:solidFill>
                  <a:srgbClr val="FFFFFF"/>
                </a:solidFill>
              </a:rPr>
              <a:t> </a:t>
            </a:r>
            <a:r>
              <a:rPr lang="bg-BG" altLang="de-DE" dirty="0" smtClean="0">
                <a:solidFill>
                  <a:srgbClr val="FFFFFF"/>
                </a:solidFill>
              </a:rPr>
              <a:t>достигащ</a:t>
            </a:r>
            <a:r>
              <a:rPr lang="de-DE" altLang="de-DE" dirty="0" smtClean="0">
                <a:solidFill>
                  <a:srgbClr val="FFFFFF"/>
                </a:solidFill>
              </a:rPr>
              <a:t>	</a:t>
            </a:r>
          </a:p>
        </p:txBody>
      </p:sp>
      <p:sp>
        <p:nvSpPr>
          <p:cNvPr id="63" name="Rectangle 22"/>
          <p:cNvSpPr txBox="1">
            <a:spLocks noChangeArrowheads="1"/>
          </p:cNvSpPr>
          <p:nvPr/>
        </p:nvSpPr>
        <p:spPr bwMode="gray">
          <a:xfrm>
            <a:off x="5984201" y="1736986"/>
            <a:ext cx="410433" cy="152657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fontAlgn="base">
              <a:spcBef>
                <a:spcPct val="30000"/>
              </a:spcBef>
              <a:spcAft>
                <a:spcPct val="0"/>
              </a:spcAft>
            </a:pPr>
            <a:endParaRPr lang="de-DE" altLang="de-DE" b="1" dirty="0" smtClean="0">
              <a:solidFill>
                <a:srgbClr val="FFFFFF"/>
              </a:solidFill>
            </a:endParaRP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>
                <a:solidFill>
                  <a:srgbClr val="FFFFFF"/>
                </a:solidFill>
              </a:rPr>
              <a:t>3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>
                <a:solidFill>
                  <a:srgbClr val="FFFFFF"/>
                </a:solidFill>
              </a:rPr>
              <a:t>2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>
                <a:solidFill>
                  <a:srgbClr val="FFFFFF"/>
                </a:solidFill>
              </a:rPr>
              <a:t>1%</a:t>
            </a:r>
          </a:p>
          <a:p>
            <a:pPr algn="r" fontAlgn="base">
              <a:spcBef>
                <a:spcPct val="30000"/>
              </a:spcBef>
              <a:spcAft>
                <a:spcPct val="0"/>
              </a:spcAft>
            </a:pPr>
            <a:r>
              <a:rPr lang="de-DE" altLang="de-DE" b="1" dirty="0" smtClean="0">
                <a:solidFill>
                  <a:srgbClr val="FFFFFF"/>
                </a:solidFill>
              </a:rPr>
              <a:t>1,2%</a:t>
            </a:r>
          </a:p>
        </p:txBody>
      </p:sp>
      <p:sp>
        <p:nvSpPr>
          <p:cNvPr id="65" name="Rectangle 25"/>
          <p:cNvSpPr txBox="1">
            <a:spLocks noChangeArrowheads="1"/>
          </p:cNvSpPr>
          <p:nvPr/>
        </p:nvSpPr>
        <p:spPr>
          <a:xfrm>
            <a:off x="7244382" y="1878366"/>
            <a:ext cx="1206308" cy="1206308"/>
          </a:xfrm>
          <a:prstGeom prst="ellipse">
            <a:avLst/>
          </a:prstGeom>
          <a:solidFill>
            <a:schemeClr val="bg1"/>
          </a:solidFill>
          <a:ln w="381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en-US" altLang="de-DE" sz="3200" b="1" dirty="0" smtClean="0">
                <a:solidFill>
                  <a:srgbClr val="788763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43,7%</a:t>
            </a:r>
          </a:p>
        </p:txBody>
      </p:sp>
      <p:sp>
        <p:nvSpPr>
          <p:cNvPr id="84" name="Rectangle 21"/>
          <p:cNvSpPr txBox="1">
            <a:spLocks noChangeArrowheads="1"/>
          </p:cNvSpPr>
          <p:nvPr/>
        </p:nvSpPr>
        <p:spPr bwMode="gray">
          <a:xfrm>
            <a:off x="2855162" y="1232622"/>
            <a:ext cx="730969" cy="430887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defPPr>
              <a:defRPr lang="de-DE"/>
            </a:defPPr>
            <a:lvl1pPr algn="ctr" eaLnBrk="0" hangingPunct="0">
              <a:defRPr sz="4800" b="1" spc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2800" dirty="0"/>
              <a:t>2010</a:t>
            </a:r>
          </a:p>
        </p:txBody>
      </p:sp>
      <p:sp>
        <p:nvSpPr>
          <p:cNvPr id="14" name="Pfeil nach rechts 13"/>
          <p:cNvSpPr/>
          <p:nvPr/>
        </p:nvSpPr>
        <p:spPr>
          <a:xfrm>
            <a:off x="6699436" y="2254636"/>
            <a:ext cx="418120" cy="484632"/>
          </a:xfrm>
          <a:prstGeom prst="rightArrow">
            <a:avLst>
              <a:gd name="adj1" fmla="val 50000"/>
              <a:gd name="adj2" fmla="val 57862"/>
            </a:avLst>
          </a:prstGeom>
          <a:noFill/>
          <a:ln>
            <a:gradFill>
              <a:gsLst>
                <a:gs pos="0">
                  <a:srgbClr val="E6DCAC"/>
                </a:gs>
                <a:gs pos="12000">
                  <a:srgbClr val="E6D78A"/>
                </a:gs>
                <a:gs pos="30000">
                  <a:srgbClr val="C7AC4C"/>
                </a:gs>
                <a:gs pos="45000">
                  <a:srgbClr val="E6D78A"/>
                </a:gs>
                <a:gs pos="77000">
                  <a:srgbClr val="C7AC4C"/>
                </a:gs>
                <a:gs pos="100000">
                  <a:srgbClr val="E6DCAC"/>
                </a:gs>
              </a:gsLst>
              <a:lin ang="54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Pfeil nach rechts 90"/>
          <p:cNvSpPr/>
          <p:nvPr/>
        </p:nvSpPr>
        <p:spPr>
          <a:xfrm>
            <a:off x="6699436" y="3693568"/>
            <a:ext cx="418120" cy="484632"/>
          </a:xfrm>
          <a:prstGeom prst="rightArrow">
            <a:avLst>
              <a:gd name="adj1" fmla="val 50000"/>
              <a:gd name="adj2" fmla="val 57862"/>
            </a:avLst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2" name="Pfeil nach rechts 91"/>
          <p:cNvSpPr/>
          <p:nvPr/>
        </p:nvSpPr>
        <p:spPr>
          <a:xfrm>
            <a:off x="6699436" y="4787120"/>
            <a:ext cx="418120" cy="484632"/>
          </a:xfrm>
          <a:prstGeom prst="rightArrow">
            <a:avLst>
              <a:gd name="adj1" fmla="val 50000"/>
              <a:gd name="adj2" fmla="val 57862"/>
            </a:avLst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3" name="Pfeil nach rechts 92"/>
          <p:cNvSpPr/>
          <p:nvPr/>
        </p:nvSpPr>
        <p:spPr>
          <a:xfrm>
            <a:off x="6699436" y="5880672"/>
            <a:ext cx="418120" cy="484632"/>
          </a:xfrm>
          <a:prstGeom prst="rightArrow">
            <a:avLst>
              <a:gd name="adj1" fmla="val 50000"/>
              <a:gd name="adj2" fmla="val 57862"/>
            </a:avLst>
          </a:prstGeom>
          <a:noFill/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853864" y="1663509"/>
            <a:ext cx="3723587" cy="1636023"/>
          </a:xfrm>
          <a:prstGeom prst="rect">
            <a:avLst/>
          </a:prstGeom>
          <a:noFill/>
          <a:ln>
            <a:gradFill>
              <a:gsLst>
                <a:gs pos="0">
                  <a:srgbClr val="E6DCAC"/>
                </a:gs>
                <a:gs pos="12000">
                  <a:srgbClr val="E6D78A"/>
                </a:gs>
                <a:gs pos="30000">
                  <a:srgbClr val="C7AC4C"/>
                </a:gs>
                <a:gs pos="45000">
                  <a:srgbClr val="E6D78A"/>
                </a:gs>
                <a:gs pos="77000">
                  <a:srgbClr val="C7AC4C"/>
                </a:gs>
                <a:gs pos="100000">
                  <a:srgbClr val="E6DCAC"/>
                </a:gs>
              </a:gsLst>
              <a:lin ang="5400000" scaled="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25400" h="25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Rectangle 25"/>
          <p:cNvSpPr txBox="1">
            <a:spLocks noChangeArrowheads="1"/>
          </p:cNvSpPr>
          <p:nvPr/>
        </p:nvSpPr>
        <p:spPr>
          <a:xfrm>
            <a:off x="7244382" y="1878366"/>
            <a:ext cx="1206308" cy="1206308"/>
          </a:xfrm>
          <a:prstGeom prst="ellipse">
            <a:avLst/>
          </a:prstGeom>
          <a:noFill/>
          <a:ln w="38100">
            <a:gradFill flip="none" rotWithShape="1">
              <a:gsLst>
                <a:gs pos="0">
                  <a:srgbClr val="E6DCAC"/>
                </a:gs>
                <a:gs pos="12000">
                  <a:srgbClr val="E6D78A"/>
                </a:gs>
                <a:gs pos="30000">
                  <a:srgbClr val="C7AC4C"/>
                </a:gs>
                <a:gs pos="45000">
                  <a:srgbClr val="E6D78A"/>
                </a:gs>
                <a:gs pos="77000">
                  <a:srgbClr val="C7AC4C"/>
                </a:gs>
                <a:gs pos="100000">
                  <a:srgbClr val="E6DCAC"/>
                </a:gs>
              </a:gsLst>
              <a:lin ang="8100000" scaled="1"/>
              <a:tileRect/>
            </a:gradFill>
          </a:ln>
          <a:effectLst/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itchFamily="34" charset="0"/>
              <a:buNone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Wingdings" pitchFamily="2" charset="2"/>
              <a:buChar char="§"/>
              <a:tabLst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Symbol" pitchFamily="18" charset="2"/>
              <a:buChar char="-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spcBef>
                <a:spcPts val="600"/>
              </a:spcBef>
              <a:buClr>
                <a:schemeClr val="accent1">
                  <a:lumMod val="50000"/>
                </a:schemeClr>
              </a:buClr>
              <a:buFont typeface="Arial" pitchFamily="34" charset="0"/>
              <a:buChar char="•"/>
              <a:defRPr sz="16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de-DE" sz="3200" b="1" dirty="0" smtClean="0">
              <a:solidFill>
                <a:srgbClr val="7887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84154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1084439" y="546700"/>
            <a:ext cx="870494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3600" b="1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Calibri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LR</a:t>
            </a:r>
            <a:r>
              <a:rPr kumimoji="0" lang="bg-BG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 факторите на успеха 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Rechteck 52"/>
          <p:cNvSpPr/>
          <p:nvPr/>
        </p:nvSpPr>
        <p:spPr>
          <a:xfrm>
            <a:off x="7323110" y="1468725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7520576" y="2212120"/>
            <a:ext cx="121347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служване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8524661" y="146872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5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9" name="Picture 15" descr="Bild12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3110" y="3211308"/>
            <a:ext cx="1608406" cy="1735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46"/>
          <p:cNvSpPr/>
          <p:nvPr/>
        </p:nvSpPr>
        <p:spPr>
          <a:xfrm>
            <a:off x="3828504" y="1468725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1" name="Rectangle 8"/>
          <p:cNvSpPr txBox="1">
            <a:spLocks noChangeArrowheads="1"/>
          </p:cNvSpPr>
          <p:nvPr/>
        </p:nvSpPr>
        <p:spPr bwMode="auto">
          <a:xfrm>
            <a:off x="3668216" y="2181343"/>
            <a:ext cx="176223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err="1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Ясн</a:t>
            </a:r>
            <a:r>
              <a:rPr lang="bg-BG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 </a:t>
            </a: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err="1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прозрачн</a:t>
            </a:r>
            <a:r>
              <a:rPr lang="bg-BG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 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истема за възнаграждения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030055" y="146872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3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3" name="Rechteck 43"/>
          <p:cNvSpPr/>
          <p:nvPr/>
        </p:nvSpPr>
        <p:spPr>
          <a:xfrm>
            <a:off x="2081201" y="1468725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4" name="Rectangle 31"/>
          <p:cNvSpPr txBox="1">
            <a:spLocks noChangeArrowheads="1"/>
          </p:cNvSpPr>
          <p:nvPr/>
        </p:nvSpPr>
        <p:spPr bwMode="auto">
          <a:xfrm>
            <a:off x="2101706" y="2212120"/>
            <a:ext cx="166552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знаменитости</a:t>
            </a: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3282752" y="146872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2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6" name="Picture 133" descr="C:\Users\cabral\AppData\Local\Microsoft\Windows\Temporary Internet Files\Content.Outlook\IW0RRCBJ\Bruce02 1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81201" y="3193446"/>
            <a:ext cx="1608406" cy="1735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4"/>
          <p:cNvSpPr/>
          <p:nvPr/>
        </p:nvSpPr>
        <p:spPr>
          <a:xfrm>
            <a:off x="333898" y="1468725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8" name="Rectangle 35"/>
          <p:cNvSpPr txBox="1">
            <a:spLocks noChangeArrowheads="1"/>
          </p:cNvSpPr>
          <p:nvPr/>
        </p:nvSpPr>
        <p:spPr bwMode="auto">
          <a:xfrm>
            <a:off x="458429" y="2212120"/>
            <a:ext cx="13593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marL="0" indent="0" algn="ctr" eaLnBrk="1" hangingPunct="1">
              <a:spcBef>
                <a:spcPts val="0"/>
              </a:spcBef>
              <a:defRPr sz="1800" b="1" kern="0" spc="0" baseline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 marL="200025" indent="-198438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defTabSz="914400" fontAlgn="base">
              <a:spcAft>
                <a:spcPct val="0"/>
              </a:spcAft>
            </a:pP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Топ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 </a:t>
            </a: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продукти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/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Made</a:t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in Germany</a:t>
            </a:r>
          </a:p>
        </p:txBody>
      </p:sp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1535449" y="146872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algn="ctr" eaLnBrk="0" hangingPunct="0">
              <a:defRPr sz="4800" b="1" spc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1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898" y="3211308"/>
            <a:ext cx="1608406" cy="173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hteck 24"/>
          <p:cNvSpPr/>
          <p:nvPr/>
        </p:nvSpPr>
        <p:spPr>
          <a:xfrm>
            <a:off x="5575807" y="1468725"/>
            <a:ext cx="1608406" cy="1742583"/>
          </a:xfrm>
          <a:prstGeom prst="rect">
            <a:avLst/>
          </a:prstGeom>
          <a:solidFill>
            <a:srgbClr val="78876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2" name="Rectangle 10"/>
          <p:cNvSpPr txBox="1">
            <a:spLocks noChangeArrowheads="1"/>
          </p:cNvSpPr>
          <p:nvPr/>
        </p:nvSpPr>
        <p:spPr bwMode="auto">
          <a:xfrm>
            <a:off x="5668276" y="2212120"/>
            <a:ext cx="14234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FFFFFF"/>
                </a:solidFill>
                <a:latin typeface="Calibri"/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FFFFFF"/>
                </a:solidFill>
                <a:latin typeface="Calibri"/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FFFFFF"/>
                </a:solidFill>
                <a:latin typeface="Calibri"/>
              </a:rPr>
              <a:t>автомобили</a:t>
            </a: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6777358" y="146872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Calibri"/>
              </a:rPr>
              <a:t>4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latin typeface="Calibri"/>
            </a:endParaRPr>
          </a:p>
        </p:txBody>
      </p:sp>
      <p:pic>
        <p:nvPicPr>
          <p:cNvPr id="24" name="Picture 3" descr="Autokonzept_Flyer_NEU"/>
          <p:cNvPicPr preferRelativeResize="0"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27268" y="3211308"/>
            <a:ext cx="3356945" cy="362158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81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5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0815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4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/>
          <p:cNvSpPr/>
          <p:nvPr/>
        </p:nvSpPr>
        <p:spPr>
          <a:xfrm>
            <a:off x="192820" y="1495425"/>
            <a:ext cx="2756958" cy="3770024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322604" y="1602177"/>
            <a:ext cx="2554663" cy="25546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900" y="196929"/>
            <a:ext cx="8704941" cy="553998"/>
          </a:xfrm>
        </p:spPr>
        <p:txBody>
          <a:bodyPr/>
          <a:lstStyle/>
          <a:p>
            <a:r>
              <a:rPr lang="en-US" dirty="0" smtClean="0"/>
              <a:t>LR </a:t>
            </a:r>
            <a:r>
              <a:rPr lang="bg-BG" dirty="0" smtClean="0"/>
              <a:t>концепция за автомобили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3251" name="Rectangle 3" hidden="1"/>
          <p:cNvSpPr>
            <a:spLocks noGrp="1" noChangeArrowheads="1"/>
          </p:cNvSpPr>
          <p:nvPr>
            <p:ph idx="1"/>
          </p:nvPr>
        </p:nvSpPr>
        <p:spPr>
          <a:solidFill>
            <a:schemeClr val="accent1"/>
          </a:solidFill>
          <a:ln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4400" eaLnBrk="1" hangingPunct="1">
              <a:buSzTx/>
            </a:pPr>
            <a:r>
              <a:rPr lang="en-US" altLang="de-DE" sz="1000" b="1" smtClean="0">
                <a:solidFill>
                  <a:srgbClr val="FFFFFF"/>
                </a:solidFill>
                <a:cs typeface="Arial" charset="0"/>
              </a:rPr>
              <a:t> </a:t>
            </a:r>
          </a:p>
        </p:txBody>
      </p:sp>
      <p:sp>
        <p:nvSpPr>
          <p:cNvPr id="53261" name="Rectangle 88"/>
          <p:cNvSpPr>
            <a:spLocks noGrp="1" noChangeArrowheads="1"/>
          </p:cNvSpPr>
          <p:nvPr>
            <p:ph type="body" idx="4294967295"/>
          </p:nvPr>
        </p:nvSpPr>
        <p:spPr bwMode="gray">
          <a:xfrm flipH="1">
            <a:off x="215900" y="1036638"/>
            <a:ext cx="2757488" cy="458787"/>
          </a:xfrm>
          <a:solidFill>
            <a:srgbClr val="788763"/>
          </a:solidFill>
          <a:extLst/>
        </p:spPr>
        <p:txBody>
          <a:bodyPr wrap="none" lIns="54000" tIns="0" rIns="54000" bIns="0" anchor="ctr">
            <a:noAutofit/>
          </a:bodyPr>
          <a:lstStyle/>
          <a:p>
            <a:pPr algn="ctr" eaLnBrk="1" hangingPunct="1">
              <a:spcBef>
                <a:spcPct val="5000"/>
              </a:spcBef>
            </a:pPr>
            <a:r>
              <a:rPr lang="en-US" altLang="de-DE" sz="2400" b="1" dirty="0" smtClean="0">
                <a:solidFill>
                  <a:srgbClr val="FFFFFF"/>
                </a:solidFill>
              </a:rPr>
              <a:t>Manager Car</a:t>
            </a:r>
            <a:endParaRPr lang="en-US" altLang="de-DE" sz="2400" b="1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3265" name="Rectangle 84"/>
          <p:cNvSpPr>
            <a:spLocks noGrp="1" noChangeArrowheads="1"/>
          </p:cNvSpPr>
          <p:nvPr>
            <p:ph type="body" idx="4294967295"/>
          </p:nvPr>
        </p:nvSpPr>
        <p:spPr bwMode="gray">
          <a:xfrm flipH="1">
            <a:off x="6171670" y="1052839"/>
            <a:ext cx="2757487" cy="458787"/>
          </a:xfrm>
          <a:solidFill>
            <a:srgbClr val="788763"/>
          </a:solidFill>
          <a:extLst/>
        </p:spPr>
        <p:txBody>
          <a:bodyPr wrap="none" lIns="54000" tIns="0" rIns="54000" bIns="0" anchor="ctr">
            <a:noAutofit/>
          </a:bodyPr>
          <a:lstStyle/>
          <a:p>
            <a:pPr algn="ctr" eaLnBrk="1" hangingPunct="1">
              <a:spcBef>
                <a:spcPct val="5000"/>
              </a:spcBef>
            </a:pPr>
            <a:r>
              <a:rPr lang="en-US" altLang="de-DE" sz="2400" b="1" dirty="0" smtClean="0">
                <a:solidFill>
                  <a:srgbClr val="FFFFFF"/>
                </a:solidFill>
              </a:rPr>
              <a:t>Mercedes Benz</a:t>
            </a:r>
            <a:endParaRPr lang="en-US" altLang="de-DE" sz="2400" b="1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3270" name="Rectangle 79"/>
          <p:cNvSpPr>
            <a:spLocks noGrp="1" noChangeArrowheads="1"/>
          </p:cNvSpPr>
          <p:nvPr>
            <p:ph type="body" idx="4294967295"/>
          </p:nvPr>
        </p:nvSpPr>
        <p:spPr bwMode="gray">
          <a:xfrm flipH="1">
            <a:off x="6272818" y="1052839"/>
            <a:ext cx="2755900" cy="458787"/>
          </a:xfrm>
          <a:solidFill>
            <a:srgbClr val="788763"/>
          </a:solidFill>
          <a:extLst/>
        </p:spPr>
        <p:txBody>
          <a:bodyPr wrap="none" lIns="54000" tIns="0" rIns="54000" bIns="0" anchor="ctr">
            <a:noAutofit/>
          </a:bodyPr>
          <a:lstStyle/>
          <a:p>
            <a:pPr algn="ctr" eaLnBrk="1" hangingPunct="1">
              <a:spcBef>
                <a:spcPct val="5000"/>
              </a:spcBef>
            </a:pPr>
            <a:r>
              <a:rPr lang="en-US" altLang="de-DE" sz="2400" b="1" dirty="0" smtClean="0">
                <a:solidFill>
                  <a:srgbClr val="FFFFFF"/>
                </a:solidFill>
              </a:rPr>
              <a:t>Porsche</a:t>
            </a:r>
            <a:endParaRPr lang="en-US" altLang="de-DE" sz="2400" b="1" dirty="0" smtClean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3197754" y="1495714"/>
            <a:ext cx="2756958" cy="3770024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171670" y="1495714"/>
            <a:ext cx="2756958" cy="3770024"/>
          </a:xfrm>
          <a:prstGeom prst="rect">
            <a:avLst/>
          </a:prstGeo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1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12365" name="Picture 13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98902" y="1628800"/>
            <a:ext cx="2554663" cy="255466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2369" name="Picture 17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72818" y="1602179"/>
            <a:ext cx="2554663" cy="255466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88"/>
          <p:cNvSpPr txBox="1">
            <a:spLocks noChangeArrowheads="1"/>
          </p:cNvSpPr>
          <p:nvPr/>
        </p:nvSpPr>
        <p:spPr bwMode="gray">
          <a:xfrm flipH="1">
            <a:off x="221456" y="5360987"/>
            <a:ext cx="2756958" cy="1344613"/>
          </a:xfrm>
          <a:prstGeom prst="rect">
            <a:avLst/>
          </a:prstGeom>
          <a:solidFill>
            <a:srgbClr val="78876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54000" tIns="0" rIns="54000" bIns="0" numCol="1" anchor="ctr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eaLnBrk="1" hangingPunct="1">
              <a:spcBef>
                <a:spcPct val="5000"/>
              </a:spcBef>
            </a:pPr>
            <a:r>
              <a:rPr lang="ru-RU" altLang="de-DE" b="1" dirty="0" smtClean="0">
                <a:solidFill>
                  <a:srgbClr val="FFFFFF"/>
                </a:solidFill>
              </a:rPr>
              <a:t>За </a:t>
            </a:r>
            <a:r>
              <a:rPr lang="ru-RU" altLang="de-DE" b="1" dirty="0" err="1">
                <a:solidFill>
                  <a:srgbClr val="FFFFFF"/>
                </a:solidFill>
              </a:rPr>
              <a:t>Младши</a:t>
            </a:r>
            <a:r>
              <a:rPr lang="ru-RU" altLang="de-DE" b="1" dirty="0">
                <a:solidFill>
                  <a:srgbClr val="FFFFFF"/>
                </a:solidFill>
              </a:rPr>
              <a:t> </a:t>
            </a:r>
            <a:endParaRPr lang="en-US" altLang="de-DE" b="1" dirty="0" smtClean="0">
              <a:solidFill>
                <a:srgbClr val="FFFFFF"/>
              </a:solidFill>
            </a:endParaRPr>
          </a:p>
          <a:p>
            <a:pPr algn="ctr" eaLnBrk="1" hangingPunct="1">
              <a:spcBef>
                <a:spcPct val="5000"/>
              </a:spcBef>
            </a:pPr>
            <a:r>
              <a:rPr lang="ru-RU" altLang="de-DE" b="1" dirty="0" err="1" smtClean="0">
                <a:solidFill>
                  <a:srgbClr val="FFFFFF"/>
                </a:solidFill>
              </a:rPr>
              <a:t>Мениджър</a:t>
            </a:r>
            <a:endParaRPr lang="ru-RU" altLang="de-DE" b="1" dirty="0">
              <a:solidFill>
                <a:srgbClr val="FFFFFF"/>
              </a:solidFill>
            </a:endParaRPr>
          </a:p>
        </p:txBody>
      </p:sp>
      <p:sp>
        <p:nvSpPr>
          <p:cNvPr id="23" name="Rectangle 88"/>
          <p:cNvSpPr txBox="1">
            <a:spLocks noChangeArrowheads="1"/>
          </p:cNvSpPr>
          <p:nvPr/>
        </p:nvSpPr>
        <p:spPr bwMode="gray">
          <a:xfrm flipH="1">
            <a:off x="3197754" y="5360987"/>
            <a:ext cx="2756958" cy="1344613"/>
          </a:xfrm>
          <a:prstGeom prst="rect">
            <a:avLst/>
          </a:prstGeom>
          <a:solidFill>
            <a:srgbClr val="78876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54000" tIns="0" rIns="54000" bIns="0" numCol="1" anchor="ctr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eaLnBrk="1" hangingPunct="1">
              <a:spcBef>
                <a:spcPct val="5000"/>
              </a:spcBef>
            </a:pPr>
            <a:r>
              <a:rPr lang="ru-RU" altLang="de-DE" b="1" dirty="0" smtClean="0">
                <a:solidFill>
                  <a:srgbClr val="FFFFFF"/>
                </a:solidFill>
              </a:rPr>
              <a:t>За Лидер на </a:t>
            </a:r>
          </a:p>
          <a:p>
            <a:pPr algn="ctr" eaLnBrk="1" hangingPunct="1">
              <a:spcBef>
                <a:spcPct val="5000"/>
              </a:spcBef>
            </a:pPr>
            <a:r>
              <a:rPr lang="ru-RU" altLang="de-DE" b="1" dirty="0" smtClean="0">
                <a:solidFill>
                  <a:srgbClr val="FFFFFF"/>
                </a:solidFill>
              </a:rPr>
              <a:t>организация</a:t>
            </a:r>
            <a:endParaRPr lang="ru-RU" altLang="de-DE" b="1" dirty="0">
              <a:solidFill>
                <a:srgbClr val="FFFFFF"/>
              </a:solidFill>
            </a:endParaRPr>
          </a:p>
        </p:txBody>
      </p:sp>
      <p:sp>
        <p:nvSpPr>
          <p:cNvPr id="24" name="Rectangle 88"/>
          <p:cNvSpPr txBox="1">
            <a:spLocks noChangeArrowheads="1"/>
          </p:cNvSpPr>
          <p:nvPr/>
        </p:nvSpPr>
        <p:spPr bwMode="gray">
          <a:xfrm flipH="1">
            <a:off x="6171670" y="5360987"/>
            <a:ext cx="2756958" cy="1344613"/>
          </a:xfrm>
          <a:prstGeom prst="rect">
            <a:avLst/>
          </a:prstGeom>
          <a:solidFill>
            <a:srgbClr val="78876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54000" tIns="0" rIns="54000" bIns="0" numCol="1" anchor="ctr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eaLnBrk="1" hangingPunct="1">
              <a:spcBef>
                <a:spcPct val="5000"/>
              </a:spcBef>
            </a:pPr>
            <a:r>
              <a:rPr lang="ru-RU" altLang="de-DE" b="1" dirty="0" smtClean="0">
                <a:solidFill>
                  <a:srgbClr val="FFFFFF"/>
                </a:solidFill>
              </a:rPr>
              <a:t>За </a:t>
            </a:r>
            <a:r>
              <a:rPr lang="bg-BG" altLang="de-DE" b="1" dirty="0" smtClean="0">
                <a:solidFill>
                  <a:srgbClr val="FFFFFF"/>
                </a:solidFill>
              </a:rPr>
              <a:t>Платинен</a:t>
            </a:r>
            <a:r>
              <a:rPr lang="ru-RU" altLang="de-DE" b="1" dirty="0" smtClean="0">
                <a:solidFill>
                  <a:srgbClr val="FFFFFF"/>
                </a:solidFill>
              </a:rPr>
              <a:t> лидер</a:t>
            </a:r>
            <a:r>
              <a:rPr lang="bg-BG" altLang="de-DE" b="1" dirty="0">
                <a:solidFill>
                  <a:srgbClr val="FFFFFF"/>
                </a:solidFill>
              </a:rPr>
              <a:t> </a:t>
            </a:r>
            <a:endParaRPr lang="bg-BG" altLang="de-DE" b="1" dirty="0" smtClean="0">
              <a:solidFill>
                <a:srgbClr val="FFFFFF"/>
              </a:solidFill>
            </a:endParaRPr>
          </a:p>
          <a:p>
            <a:pPr algn="ctr" eaLnBrk="1" hangingPunct="1">
              <a:spcBef>
                <a:spcPct val="5000"/>
              </a:spcBef>
            </a:pPr>
            <a:r>
              <a:rPr lang="bg-BG" altLang="de-DE" b="1" dirty="0" smtClean="0">
                <a:solidFill>
                  <a:srgbClr val="FFFFFF"/>
                </a:solidFill>
              </a:rPr>
              <a:t>на организация</a:t>
            </a:r>
            <a:endParaRPr lang="ru-RU" altLang="de-DE" b="1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74764" y="4348546"/>
            <a:ext cx="1250342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defPPr>
              <a:defRPr lang="de-DE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defRPr>
            </a:lvl1pPr>
          </a:lstStyle>
          <a:p>
            <a:r>
              <a:rPr lang="el-GR" dirty="0" smtClean="0"/>
              <a:t>7000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3951062" y="4344095"/>
            <a:ext cx="1250343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defPPr>
              <a:defRPr lang="de-DE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defRPr>
            </a:lvl1pPr>
          </a:lstStyle>
          <a:p>
            <a:r>
              <a:rPr lang="bg-BG" dirty="0" smtClean="0"/>
              <a:t>2600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7237563" y="4348546"/>
            <a:ext cx="625171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defPPr>
              <a:defRPr lang="de-DE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ea typeface="+mj-ea"/>
                <a:cs typeface="+mj-cs"/>
              </a:defRPr>
            </a:lvl1pPr>
          </a:lstStyle>
          <a:p>
            <a:r>
              <a:rPr lang="bg-BG" dirty="0" smtClean="0"/>
              <a:t>60</a:t>
            </a:r>
            <a:endParaRPr lang="en-US" dirty="0"/>
          </a:p>
        </p:txBody>
      </p:sp>
      <p:sp>
        <p:nvSpPr>
          <p:cNvPr id="31" name="Rectangle 88"/>
          <p:cNvSpPr txBox="1">
            <a:spLocks noChangeArrowheads="1"/>
          </p:cNvSpPr>
          <p:nvPr/>
        </p:nvSpPr>
        <p:spPr bwMode="gray">
          <a:xfrm flipH="1">
            <a:off x="3197754" y="1036638"/>
            <a:ext cx="2757488" cy="458787"/>
          </a:xfrm>
          <a:prstGeom prst="rect">
            <a:avLst/>
          </a:prstGeom>
          <a:solidFill>
            <a:srgbClr val="78876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54000" tIns="0" rIns="54000" bIns="0" numCol="1" anchor="ctr" anchorCtr="0" compatLnSpc="1">
            <a:prstTxWarp prst="textNoShape">
              <a:avLst/>
            </a:prstTxWarp>
            <a:no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5000"/>
              </a:spcBef>
            </a:pPr>
            <a:r>
              <a:rPr lang="en-US" altLang="de-DE" sz="2400" b="1" dirty="0"/>
              <a:t>Mercedes Benz</a:t>
            </a:r>
            <a:endParaRPr lang="en-US" altLang="de-DE" sz="2400" b="1" dirty="0">
              <a:cs typeface="Arial" charset="0"/>
            </a:endParaRPr>
          </a:p>
        </p:txBody>
      </p:sp>
      <p:pic>
        <p:nvPicPr>
          <p:cNvPr id="19968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681" y="1516591"/>
            <a:ext cx="1515137" cy="1408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9686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111" y="1332022"/>
            <a:ext cx="1452377" cy="1520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extBox 32"/>
          <p:cNvSpPr txBox="1"/>
          <p:nvPr/>
        </p:nvSpPr>
        <p:spPr>
          <a:xfrm rot="874593">
            <a:off x="4894486" y="1977327"/>
            <a:ext cx="12415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3200" b="1" dirty="0" smtClean="0"/>
              <a:t>23</a:t>
            </a:r>
          </a:p>
        </p:txBody>
      </p:sp>
      <p:sp>
        <p:nvSpPr>
          <p:cNvPr id="9" name="TextBox 8"/>
          <p:cNvSpPr txBox="1"/>
          <p:nvPr/>
        </p:nvSpPr>
        <p:spPr>
          <a:xfrm rot="789336">
            <a:off x="7906527" y="1887706"/>
            <a:ext cx="6662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en-US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566086" y="1628800"/>
            <a:ext cx="16353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5000"/>
              </a:spcBef>
            </a:pPr>
            <a:r>
              <a:rPr lang="en-US" altLang="de-DE" b="1" dirty="0"/>
              <a:t>Mercedes Benz</a:t>
            </a:r>
            <a:endParaRPr lang="en-US" altLang="de-DE" b="1" dirty="0">
              <a:cs typeface="Arial" charset="0"/>
            </a:endParaRPr>
          </a:p>
        </p:txBody>
      </p:sp>
      <p:pic>
        <p:nvPicPr>
          <p:cNvPr id="35" name="Picture 5" descr="https://www.lrworld.com/fileadmin/lrworld/content/ALL/4_Press/4-1_Press_releases/2011/2011-09-17_poloda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691430"/>
            <a:ext cx="2351527" cy="1457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5-Point Star 4"/>
          <p:cNvSpPr/>
          <p:nvPr/>
        </p:nvSpPr>
        <p:spPr>
          <a:xfrm rot="945520">
            <a:off x="1607141" y="1929708"/>
            <a:ext cx="1306006" cy="1088416"/>
          </a:xfrm>
          <a:prstGeom prst="star5">
            <a:avLst/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 rot="874593">
            <a:off x="1601270" y="2207667"/>
            <a:ext cx="12415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1</a:t>
            </a:r>
            <a:r>
              <a:rPr lang="bg-BG" sz="3200" b="1" dirty="0" smtClean="0"/>
              <a:t>42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67544" y="1700808"/>
            <a:ext cx="2245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5000"/>
              </a:spcBef>
            </a:pPr>
            <a:r>
              <a:rPr lang="en-US" altLang="de-DE" b="1" dirty="0" smtClean="0"/>
              <a:t>Volkswagen POLO</a:t>
            </a:r>
            <a:endParaRPr lang="en-US" altLang="de-DE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34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045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3" t="333" r="3581" b="2725"/>
          <a:stretch/>
        </p:blipFill>
        <p:spPr>
          <a:xfrm>
            <a:off x="47657" y="166051"/>
            <a:ext cx="8785225" cy="649763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221276"/>
            <a:ext cx="864096" cy="111728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130" y="236875"/>
            <a:ext cx="1738577" cy="1078514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260189"/>
            <a:ext cx="1545510" cy="1031885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607" y="244447"/>
            <a:ext cx="1736521" cy="1070941"/>
          </a:xfrm>
          <a:prstGeom prst="rect">
            <a:avLst/>
          </a:prstGeom>
        </p:spPr>
      </p:pic>
      <p:pic>
        <p:nvPicPr>
          <p:cNvPr id="172038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39085"/>
            <a:ext cx="1052995" cy="1605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2041" name="Picture 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300" y="236875"/>
            <a:ext cx="1143957" cy="1796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337" y="5016363"/>
            <a:ext cx="1942150" cy="1233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6" t="26421" r="5516" b="-2321"/>
          <a:stretch/>
        </p:blipFill>
        <p:spPr bwMode="auto">
          <a:xfrm>
            <a:off x="395536" y="5651028"/>
            <a:ext cx="1545471" cy="934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7" descr="T:\Pictures\Events\2017\Kick off Meeting 17\DSC_8182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388" y="2125026"/>
            <a:ext cx="3166852" cy="21145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686" y="1388960"/>
            <a:ext cx="3386861" cy="17651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182"/>
          <a:stretch/>
        </p:blipFill>
        <p:spPr>
          <a:xfrm>
            <a:off x="7523887" y="2869878"/>
            <a:ext cx="1278687" cy="1089981"/>
          </a:xfrm>
          <a:prstGeom prst="rect">
            <a:avLst/>
          </a:prstGeom>
        </p:spPr>
      </p:pic>
      <p:pic>
        <p:nvPicPr>
          <p:cNvPr id="172037" name="Picture 5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4"/>
          <a:stretch/>
        </p:blipFill>
        <p:spPr bwMode="auto">
          <a:xfrm>
            <a:off x="7369501" y="1480255"/>
            <a:ext cx="1450603" cy="1289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19"/>
          <a:stretch/>
        </p:blipFill>
        <p:spPr>
          <a:xfrm>
            <a:off x="7166536" y="4139219"/>
            <a:ext cx="1581928" cy="1089981"/>
          </a:xfrm>
          <a:prstGeom prst="rect">
            <a:avLst/>
          </a:prstGeom>
        </p:spPr>
      </p:pic>
      <p:pic>
        <p:nvPicPr>
          <p:cNvPr id="172036" name="Picture 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68" y="1943305"/>
            <a:ext cx="1419669" cy="1038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839" name="Picture 15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116" y="4353728"/>
            <a:ext cx="2997170" cy="18963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2040" name="Picture 8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747" y="1360288"/>
            <a:ext cx="1008112" cy="110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 descr="T:\Pictures &amp; Video\Events\2017\Aloe Via Power day 24.06.2017\DSC_5303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3794" y="3187332"/>
            <a:ext cx="2636475" cy="17538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8170" y="5363510"/>
            <a:ext cx="2015488" cy="1233842"/>
          </a:xfrm>
          <a:prstGeom prst="rect">
            <a:avLst/>
          </a:prstGeom>
        </p:spPr>
      </p:pic>
      <p:pic>
        <p:nvPicPr>
          <p:cNvPr id="172042" name="Picture 1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849" y="3438096"/>
            <a:ext cx="527373" cy="1043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903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1060903" y="485633"/>
            <a:ext cx="870494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3600" b="1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Calibri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LR</a:t>
            </a:r>
            <a:r>
              <a:rPr kumimoji="0" lang="bg-BG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rPr>
              <a:t> факторите на успеха 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Rechteck 49"/>
          <p:cNvSpPr/>
          <p:nvPr/>
        </p:nvSpPr>
        <p:spPr>
          <a:xfrm>
            <a:off x="5498608" y="151738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7" name="Rectangle 10"/>
          <p:cNvSpPr txBox="1">
            <a:spLocks noChangeArrowheads="1"/>
          </p:cNvSpPr>
          <p:nvPr/>
        </p:nvSpPr>
        <p:spPr bwMode="auto">
          <a:xfrm>
            <a:off x="5591077" y="2260776"/>
            <a:ext cx="14234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втомобили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6700159" y="151738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4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9" name="Rechteck 46"/>
          <p:cNvSpPr/>
          <p:nvPr/>
        </p:nvSpPr>
        <p:spPr>
          <a:xfrm>
            <a:off x="3751305" y="151738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3727255" y="2274223"/>
            <a:ext cx="1656505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Ясна </a:t>
            </a: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прозрачна 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истема за </a:t>
            </a:r>
            <a:r>
              <a:rPr lang="ru-RU" altLang="de-DE" sz="1400" b="1" dirty="0" err="1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възнаграждения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4952856" y="151738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3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2" name="Picture 7" descr="Bild10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1305" y="3259964"/>
            <a:ext cx="1608406" cy="173583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43"/>
          <p:cNvSpPr/>
          <p:nvPr/>
        </p:nvSpPr>
        <p:spPr>
          <a:xfrm>
            <a:off x="2004002" y="151738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4" name="Rectangle 31"/>
          <p:cNvSpPr txBox="1">
            <a:spLocks noChangeArrowheads="1"/>
          </p:cNvSpPr>
          <p:nvPr/>
        </p:nvSpPr>
        <p:spPr bwMode="auto">
          <a:xfrm>
            <a:off x="2004002" y="2256045"/>
            <a:ext cx="166552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знаменитости</a:t>
            </a:r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3205553" y="151738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2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6" name="Picture 133" descr="C:\Users\cabral\AppData\Local\Microsoft\Windows\Temporary Internet Files\Content.Outlook\IW0RRCBJ\Bruce02 1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04002" y="3259964"/>
            <a:ext cx="1608406" cy="1735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hteck 4"/>
          <p:cNvSpPr/>
          <p:nvPr/>
        </p:nvSpPr>
        <p:spPr>
          <a:xfrm>
            <a:off x="256699" y="1517381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8" name="Rectangle 35"/>
          <p:cNvSpPr txBox="1">
            <a:spLocks noChangeArrowheads="1"/>
          </p:cNvSpPr>
          <p:nvPr/>
        </p:nvSpPr>
        <p:spPr bwMode="auto">
          <a:xfrm>
            <a:off x="381230" y="2260776"/>
            <a:ext cx="13593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marL="0" indent="0" algn="ctr" eaLnBrk="1" hangingPunct="1">
              <a:spcBef>
                <a:spcPts val="0"/>
              </a:spcBef>
              <a:defRPr sz="1800" b="1" kern="0" spc="0" baseline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 marL="200025" indent="-198438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eaLnBrk="0" hangingPunct="0">
              <a:spcBef>
                <a:spcPts val="600"/>
              </a:spcBef>
              <a:buClr>
                <a:schemeClr val="bg2"/>
              </a:buClr>
              <a:buSzPct val="80000"/>
              <a:buFont typeface="Wingdings" pitchFamily="2" charset="2"/>
              <a:buChar char="n"/>
              <a:defRPr sz="1800" b="0" kern="0" spc="0" baseline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defTabSz="914400" fontAlgn="base">
              <a:spcAft>
                <a:spcPct val="0"/>
              </a:spcAft>
            </a:pP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Топ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 </a:t>
            </a:r>
            <a:r>
              <a:rPr lang="en-US" altLang="de-DE" dirty="0" err="1">
                <a:solidFill>
                  <a:srgbClr val="AEAEAE">
                    <a:lumMod val="75000"/>
                  </a:srgbClr>
                </a:solidFill>
                <a:latin typeface="Calibri"/>
              </a:rPr>
              <a:t>продукти</a:t>
            </a: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/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Made</a:t>
            </a:r>
            <a:b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</a:br>
            <a:r>
              <a:rPr lang="en-US" altLang="de-DE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in Germany</a:t>
            </a:r>
          </a:p>
        </p:txBody>
      </p:sp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1458250" y="151738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defPPr>
              <a:defRPr lang="de-DE"/>
            </a:defPPr>
            <a:lvl1pPr algn="ctr" eaLnBrk="0" hangingPunct="0">
              <a:defRPr sz="4800" b="1" spc="0">
                <a:solidFill>
                  <a:schemeClr val="accent6">
                    <a:lumMod val="75000"/>
                  </a:schemeClr>
                </a:solidFill>
                <a:effectLst/>
                <a:latin typeface="+mn-lt"/>
                <a:ea typeface="+mj-ea"/>
                <a:cs typeface="+mj-cs"/>
              </a:defRPr>
            </a:lvl1pPr>
            <a:lvl2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AEAEAE">
                    <a:lumMod val="75000"/>
                  </a:srgbClr>
                </a:solidFill>
                <a:latin typeface="Calibri"/>
              </a:rPr>
              <a:t>1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699" y="3259964"/>
            <a:ext cx="1608406" cy="173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hteck 23"/>
          <p:cNvSpPr/>
          <p:nvPr/>
        </p:nvSpPr>
        <p:spPr>
          <a:xfrm>
            <a:off x="7245911" y="1517381"/>
            <a:ext cx="1608406" cy="1742583"/>
          </a:xfrm>
          <a:prstGeom prst="rect">
            <a:avLst/>
          </a:prstGeom>
          <a:solidFill>
            <a:srgbClr val="78876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7443375" y="2260776"/>
            <a:ext cx="121347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FFFFFF"/>
                </a:solidFill>
                <a:latin typeface="Calibri"/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FFFFFF"/>
                </a:solidFill>
                <a:latin typeface="Calibri"/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FFFFFF"/>
                </a:solidFill>
                <a:latin typeface="Calibri"/>
                <a:cs typeface="Arial" charset="0"/>
              </a:rPr>
              <a:t>обслужване</a:t>
            </a:r>
            <a:endParaRPr lang="de-DE" altLang="de-DE" b="1" dirty="0">
              <a:solidFill>
                <a:srgbClr val="FFFFFF"/>
              </a:solidFill>
              <a:latin typeface="Calibri"/>
              <a:cs typeface="Arial" charset="0"/>
            </a:endParaRP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8504753" y="1517381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dirty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Calibri"/>
              </a:rPr>
              <a:t>5</a:t>
            </a:r>
            <a:endParaRPr lang="en-US" sz="4800" spc="0" dirty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  <a:latin typeface="Calibri"/>
            </a:endParaRPr>
          </a:p>
        </p:txBody>
      </p:sp>
      <p:pic>
        <p:nvPicPr>
          <p:cNvPr id="24" name="Picture 15" descr="Bild12"/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6016" y="3276314"/>
            <a:ext cx="3319966" cy="358168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133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900" y="196929"/>
            <a:ext cx="8704941" cy="724820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LR Academy</a:t>
            </a:r>
            <a:endParaRPr lang="de-DE" dirty="0"/>
          </a:p>
        </p:txBody>
      </p:sp>
      <p:pic>
        <p:nvPicPr>
          <p:cNvPr id="57349" name="Grafik 2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5000"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22342" y="921749"/>
            <a:ext cx="2253155" cy="162157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50" name="Grafik 3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5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20924754">
            <a:off x="291727" y="3396651"/>
            <a:ext cx="2064485" cy="137546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05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357" y="1224381"/>
            <a:ext cx="2799550" cy="1869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05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8693" y="4896283"/>
            <a:ext cx="3333873" cy="1629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06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7854" y="4518837"/>
            <a:ext cx="3388118" cy="207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062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5736" y="1122754"/>
            <a:ext cx="2972353" cy="2002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066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24025">
            <a:off x="6307313" y="2658419"/>
            <a:ext cx="1996717" cy="203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3067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8619" y="2799691"/>
            <a:ext cx="3244704" cy="2009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871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09800" y="3995611"/>
            <a:ext cx="6781800" cy="1661993"/>
          </a:xfrm>
        </p:spPr>
        <p:txBody>
          <a:bodyPr/>
          <a:lstStyle/>
          <a:p>
            <a:r>
              <a:rPr lang="bg-BG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сията на </a:t>
            </a:r>
            <a:r>
              <a:rPr lang="en-GB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R </a:t>
            </a:r>
            <a:r>
              <a:rPr lang="bg-BG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 да даде повече качество на всеки живот, до който се докосне</a:t>
            </a:r>
            <a:endParaRPr lang="en-GB" sz="36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9" name="Picture 3" descr="C:\Users\I.Donneaux\AppData\Local\Microsoft\Windows\Temporary Internet Files\Content.Outlook\M05HSXUY\LR_Claim3_RGBGree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883343"/>
            <a:ext cx="2161036" cy="2112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9188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700" y="260648"/>
            <a:ext cx="8878796" cy="6354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25" y="4038960"/>
            <a:ext cx="2587145" cy="14488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33" y="764704"/>
            <a:ext cx="2448272" cy="12241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687" y="4257093"/>
            <a:ext cx="2220018" cy="14773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496794"/>
            <a:ext cx="2685243" cy="15116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4458" y="3458435"/>
            <a:ext cx="2474913" cy="13049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071" y="575084"/>
            <a:ext cx="2146300" cy="1603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512827" y="620688"/>
            <a:ext cx="2377843" cy="1017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25" y="1349395"/>
            <a:ext cx="2952750" cy="1552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423448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0205" y="5356543"/>
            <a:ext cx="8797552" cy="492443"/>
          </a:xfrm>
        </p:spPr>
        <p:txBody>
          <a:bodyPr/>
          <a:lstStyle/>
          <a:p>
            <a:pPr algn="ctr"/>
            <a:r>
              <a:rPr lang="bg-BG" sz="3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секи един от нас е част от голямата идея</a:t>
            </a:r>
            <a:endParaRPr lang="en-GB" sz="32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1" y="1676400"/>
            <a:ext cx="4373562" cy="35132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798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068" y="4038600"/>
            <a:ext cx="1823225" cy="1365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66036" y="5277818"/>
            <a:ext cx="8568952" cy="1107996"/>
          </a:xfrm>
        </p:spPr>
        <p:txBody>
          <a:bodyPr/>
          <a:lstStyle/>
          <a:p>
            <a:pPr algn="ctr"/>
            <a:r>
              <a:rPr lang="bg-BG" b="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ъже и жени, млади и стари, всички религии, всякакво образование…</a:t>
            </a:r>
            <a:br>
              <a:rPr lang="bg-BG" b="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bg-BG" b="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СЕКИ МОЖЕ ДА УСПЕЕ С </a:t>
            </a:r>
            <a:r>
              <a:rPr lang="en-US" b="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R!</a:t>
            </a:r>
            <a:endParaRPr lang="en-GB" b="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9731" y="2056807"/>
            <a:ext cx="3062056" cy="204200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1763009"/>
            <a:ext cx="2978843" cy="19875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524000"/>
            <a:ext cx="2819400" cy="18761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442" y="3800959"/>
            <a:ext cx="2215289" cy="14768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8701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524000"/>
            <a:ext cx="5943600" cy="33954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8600" y="5486400"/>
            <a:ext cx="8568952" cy="984885"/>
          </a:xfrm>
        </p:spPr>
        <p:txBody>
          <a:bodyPr/>
          <a:lstStyle/>
          <a:p>
            <a:pPr algn="ctr"/>
            <a:r>
              <a:rPr lang="bg-BG" sz="3200" b="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ужно е само да дадем своята заявка за УСПЕХ!</a:t>
            </a:r>
            <a:endParaRPr lang="en-GB" sz="3200" b="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55273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4" name="Picture 2" descr="&amp;Rcy;&amp;iecy;&amp;zcy;&amp;ucy;&amp;lcy;&amp;tcy;&amp;acy;&amp;tcy; &amp;scy; &amp;icy;&amp;zcy;&amp;ocy;&amp;bcy;&amp;rcy;&amp;acy;&amp;zhcy;&amp;iecy;&amp;ncy;&amp;icy;&amp;iecy; &amp;zcy;&amp;acy; working hou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440160"/>
            <a:ext cx="7486650" cy="541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43608" y="476672"/>
            <a:ext cx="795637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bg-BG" sz="1600" dirty="0" smtClean="0"/>
              <a:t>Между 8 и 15 часа ангажираност седмично осигуряват стабилен страничен доход.</a:t>
            </a:r>
          </a:p>
          <a:p>
            <a:r>
              <a:rPr lang="bg-BG" sz="1600" dirty="0" smtClean="0"/>
              <a:t>Възнагражденията варират според постигнатите резултати, респективно на положените усилия и отделеното време. 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69654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04799" y="5029200"/>
            <a:ext cx="8568952" cy="984885"/>
          </a:xfrm>
        </p:spPr>
        <p:txBody>
          <a:bodyPr/>
          <a:lstStyle/>
          <a:p>
            <a:pPr algn="ctr"/>
            <a:r>
              <a:rPr lang="bg-BG" sz="3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ужни са труд, усилия и постоянство, но формулата е ясна и доказана!</a:t>
            </a:r>
            <a:endParaRPr lang="en-GB" sz="32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676400"/>
            <a:ext cx="3952875" cy="2636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2057401"/>
            <a:ext cx="4057650" cy="26945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6360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1630" y="5486400"/>
            <a:ext cx="8568952" cy="553998"/>
          </a:xfrm>
        </p:spPr>
        <p:txBody>
          <a:bodyPr/>
          <a:lstStyle/>
          <a:p>
            <a:pPr algn="ctr"/>
            <a:r>
              <a:rPr lang="bg-BG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ботата в екип е нашата сила</a:t>
            </a:r>
            <a:endParaRPr lang="en-GB" sz="36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828800"/>
            <a:ext cx="4849813" cy="35465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691680" y="417639"/>
            <a:ext cx="590465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bg-BG" sz="2400" dirty="0" smtClean="0"/>
              <a:t>В </a:t>
            </a:r>
            <a:r>
              <a:rPr lang="en-US" sz="2400" dirty="0" smtClean="0"/>
              <a:t>LR </a:t>
            </a:r>
            <a:r>
              <a:rPr lang="bg-BG" sz="2400" dirty="0" smtClean="0"/>
              <a:t>конкуренцията не съществува! </a:t>
            </a:r>
          </a:p>
          <a:p>
            <a:r>
              <a:rPr lang="bg-BG" sz="2400" dirty="0" smtClean="0"/>
              <a:t>Но има много благородна надпревара</a:t>
            </a:r>
            <a:r>
              <a:rPr lang="bg-BG" dirty="0" smtClean="0"/>
              <a:t>.</a:t>
            </a:r>
            <a:endParaRPr lang="en-US" dirty="0" err="1" smtClean="0"/>
          </a:p>
        </p:txBody>
      </p:sp>
    </p:spTree>
    <p:extLst>
      <p:ext uri="{BB962C8B-B14F-4D97-AF65-F5344CB8AC3E}">
        <p14:creationId xmlns:p14="http://schemas.microsoft.com/office/powerpoint/2010/main" val="3466228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1" y="1588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588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1519" y="5301208"/>
            <a:ext cx="8568952" cy="553998"/>
          </a:xfrm>
        </p:spPr>
        <p:txBody>
          <a:bodyPr/>
          <a:lstStyle/>
          <a:p>
            <a:pPr algn="ctr"/>
            <a:r>
              <a:rPr lang="en-US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R </a:t>
            </a:r>
            <a:r>
              <a:rPr lang="bg-BG" sz="36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ава един истински шанс за успех</a:t>
            </a:r>
            <a:endParaRPr lang="en-GB" sz="36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885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700808"/>
            <a:ext cx="5112567" cy="3402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91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bg-BG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2978" r="1915" b="2646"/>
          <a:stretch/>
        </p:blipFill>
        <p:spPr bwMode="auto">
          <a:xfrm>
            <a:off x="179388" y="192402"/>
            <a:ext cx="8820000" cy="6484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7047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04" name="Rectangle 2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1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409983" y="1585539"/>
            <a:ext cx="8409231" cy="923314"/>
          </a:xfrm>
          <a:prstGeom prst="rect">
            <a:avLst/>
          </a:prstGeom>
          <a:noFill/>
        </p:spPr>
        <p:txBody>
          <a:bodyPr wrap="square" lIns="91424" tIns="45712" rIns="91424" bIns="45712">
            <a:spAutoFit/>
          </a:bodyPr>
          <a:lstStyle/>
          <a:p>
            <a:r>
              <a:rPr lang="bg-B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</a:t>
            </a:r>
            <a:r>
              <a:rPr lang="bg-B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ад </a:t>
            </a:r>
            <a:r>
              <a:rPr lang="bg-BG" sz="5400" b="1" dirty="0" smtClean="0">
                <a:solidFill>
                  <a:srgbClr val="83AD81"/>
                </a:solidFill>
              </a:rPr>
              <a:t>32</a:t>
            </a:r>
            <a:r>
              <a:rPr lang="bg-BG" b="1" dirty="0" smtClean="0">
                <a:solidFill>
                  <a:srgbClr val="83AD81"/>
                </a:solidFill>
              </a:rPr>
              <a:t> </a:t>
            </a:r>
            <a:r>
              <a:rPr lang="bg-B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години история, </a:t>
            </a:r>
          </a:p>
        </p:txBody>
      </p:sp>
      <p:sp>
        <p:nvSpPr>
          <p:cNvPr id="7" name="Rectangle 6"/>
          <p:cNvSpPr/>
          <p:nvPr/>
        </p:nvSpPr>
        <p:spPr>
          <a:xfrm>
            <a:off x="846365" y="5330508"/>
            <a:ext cx="7695577" cy="923314"/>
          </a:xfrm>
          <a:prstGeom prst="rect">
            <a:avLst/>
          </a:prstGeom>
        </p:spPr>
        <p:txBody>
          <a:bodyPr wrap="square" lIns="91424" tIns="45712" rIns="91424" bIns="45712">
            <a:spAutoFit/>
          </a:bodyPr>
          <a:lstStyle/>
          <a:p>
            <a:pPr algn="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 </a:t>
            </a:r>
            <a:r>
              <a:rPr lang="bg-B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редставителства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в </a:t>
            </a:r>
            <a:r>
              <a:rPr lang="ru-RU" sz="5400" b="1" smtClean="0">
                <a:solidFill>
                  <a:srgbClr val="83AD81"/>
                </a:solidFill>
              </a:rPr>
              <a:t>28</a:t>
            </a:r>
            <a:r>
              <a:rPr lang="ru-RU" b="1" smtClean="0">
                <a:solidFill>
                  <a:srgbClr val="83AD81"/>
                </a:solidFill>
              </a:rPr>
              <a:t> </a:t>
            </a:r>
            <a:r>
              <a:rPr lang="bg-B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държави</a:t>
            </a:r>
            <a:endParaRPr lang="bg-BG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09983" y="3008816"/>
            <a:ext cx="8313764" cy="1519197"/>
          </a:xfrm>
          <a:prstGeom prst="rect">
            <a:avLst/>
          </a:prstGeom>
        </p:spPr>
        <p:txBody>
          <a:bodyPr wrap="square" lIns="91424" tIns="45712" rIns="91424" bIns="45712">
            <a:spAutoFit/>
          </a:bodyPr>
          <a:lstStyle/>
          <a:p>
            <a:pPr algn="ctr"/>
            <a:endParaRPr lang="bg-BG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/>
            <a:r>
              <a:rPr lang="ru-RU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вече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от</a:t>
            </a:r>
            <a:r>
              <a:rPr lang="ru-RU" b="1" dirty="0" smtClean="0">
                <a:solidFill>
                  <a:srgbClr val="83AD81"/>
                </a:solidFill>
              </a:rPr>
              <a:t> </a:t>
            </a:r>
            <a:r>
              <a:rPr lang="ru-RU" sz="5400" b="1" dirty="0">
                <a:solidFill>
                  <a:srgbClr val="83AD81"/>
                </a:solidFill>
              </a:rPr>
              <a:t>650</a:t>
            </a:r>
            <a:r>
              <a:rPr lang="ru-RU" b="1" dirty="0">
                <a:solidFill>
                  <a:srgbClr val="83AD81"/>
                </a:solidFill>
              </a:rPr>
              <a:t>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артикула с </a:t>
            </a:r>
          </a:p>
          <a:p>
            <a:pPr algn="ctr"/>
            <a:r>
              <a:rPr lang="bg-BG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гарантирано немско качество </a:t>
            </a:r>
            <a:endParaRPr lang="bg-BG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87624" y="332656"/>
            <a:ext cx="78206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Водеща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компания за </a:t>
            </a:r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директни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продажби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в </a:t>
            </a:r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Eвропа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 премиум </a:t>
            </a:r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продукти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за </a:t>
            </a:r>
            <a:r>
              <a:rPr lang="ru-RU" sz="2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Здраве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и Красота</a:t>
            </a:r>
          </a:p>
        </p:txBody>
      </p:sp>
    </p:spTree>
    <p:extLst>
      <p:ext uri="{BB962C8B-B14F-4D97-AF65-F5344CB8AC3E}">
        <p14:creationId xmlns:p14="http://schemas.microsoft.com/office/powerpoint/2010/main" val="461422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O:\01_LR\Präsentationen\Unternehmenspräsentationen\2015\Bilder\Karte DE II zugeschnitt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184" y="1589592"/>
            <a:ext cx="7606896" cy="460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 1"/>
          <p:cNvSpPr txBox="1">
            <a:spLocks/>
          </p:cNvSpPr>
          <p:nvPr/>
        </p:nvSpPr>
        <p:spPr>
          <a:xfrm>
            <a:off x="1187281" y="735101"/>
            <a:ext cx="5849412" cy="3539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9569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R Health &amp;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Beauty</a:t>
            </a:r>
            <a:r>
              <a:rPr lang="bg-BG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Global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50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56" y="1539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1539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47"/>
          <p:cNvSpPr/>
          <p:nvPr/>
        </p:nvSpPr>
        <p:spPr>
          <a:xfrm>
            <a:off x="293216" y="1599672"/>
            <a:ext cx="8538640" cy="646331"/>
          </a:xfrm>
          <a:custGeom>
            <a:avLst/>
            <a:gdLst>
              <a:gd name="connsiteX0" fmla="*/ 0 w 3816000"/>
              <a:gd name="connsiteY0" fmla="*/ 0 h 1578728"/>
              <a:gd name="connsiteX1" fmla="*/ 3816000 w 3816000"/>
              <a:gd name="connsiteY1" fmla="*/ 0 h 1578728"/>
              <a:gd name="connsiteX2" fmla="*/ 3816000 w 3816000"/>
              <a:gd name="connsiteY2" fmla="*/ 474597 h 1578728"/>
              <a:gd name="connsiteX3" fmla="*/ 3816000 w 3816000"/>
              <a:gd name="connsiteY3" fmla="*/ 1104131 h 1578728"/>
              <a:gd name="connsiteX4" fmla="*/ 3816000 w 3816000"/>
              <a:gd name="connsiteY4" fmla="*/ 1578728 h 1578728"/>
              <a:gd name="connsiteX5" fmla="*/ 0 w 3816000"/>
              <a:gd name="connsiteY5" fmla="*/ 1578728 h 1578728"/>
              <a:gd name="connsiteX6" fmla="*/ 0 w 3816000"/>
              <a:gd name="connsiteY6" fmla="*/ 0 h 1578728"/>
              <a:gd name="connsiteX0" fmla="*/ 0 w 3816000"/>
              <a:gd name="connsiteY0" fmla="*/ 0 h 1578728"/>
              <a:gd name="connsiteX1" fmla="*/ 3816000 w 3816000"/>
              <a:gd name="connsiteY1" fmla="*/ 0 h 1578728"/>
              <a:gd name="connsiteX2" fmla="*/ 3816000 w 3816000"/>
              <a:gd name="connsiteY2" fmla="*/ 1104131 h 1578728"/>
              <a:gd name="connsiteX3" fmla="*/ 3816000 w 3816000"/>
              <a:gd name="connsiteY3" fmla="*/ 1578728 h 1578728"/>
              <a:gd name="connsiteX4" fmla="*/ 0 w 3816000"/>
              <a:gd name="connsiteY4" fmla="*/ 1578728 h 1578728"/>
              <a:gd name="connsiteX5" fmla="*/ 0 w 3816000"/>
              <a:gd name="connsiteY5" fmla="*/ 0 h 1578728"/>
              <a:gd name="connsiteX0" fmla="*/ 0 w 3816000"/>
              <a:gd name="connsiteY0" fmla="*/ 0 h 1578728"/>
              <a:gd name="connsiteX1" fmla="*/ 3816000 w 3816000"/>
              <a:gd name="connsiteY1" fmla="*/ 0 h 1578728"/>
              <a:gd name="connsiteX2" fmla="*/ 3816000 w 3816000"/>
              <a:gd name="connsiteY2" fmla="*/ 1578728 h 1578728"/>
              <a:gd name="connsiteX3" fmla="*/ 0 w 3816000"/>
              <a:gd name="connsiteY3" fmla="*/ 1578728 h 1578728"/>
              <a:gd name="connsiteX4" fmla="*/ 0 w 3816000"/>
              <a:gd name="connsiteY4" fmla="*/ 0 h 1578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000" h="1578728">
                <a:moveTo>
                  <a:pt x="0" y="0"/>
                </a:moveTo>
                <a:lnTo>
                  <a:pt x="3816000" y="0"/>
                </a:lnTo>
                <a:lnTo>
                  <a:pt x="3816000" y="1578728"/>
                </a:lnTo>
                <a:lnTo>
                  <a:pt x="0" y="157872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3988" tIns="0" rIns="0" bIns="0" anchor="ctr"/>
          <a:lstStyle/>
          <a:p>
            <a:pPr defTabSz="857304">
              <a:defRPr/>
            </a:pPr>
            <a:endParaRPr lang="en-US" sz="25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34932" y="4404387"/>
            <a:ext cx="101091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                             </a:t>
            </a:r>
          </a:p>
          <a:p>
            <a:pPr marL="1104707" lvl="2" indent="-246955">
              <a:buFont typeface="Wingdings" panose="05000000000000000000" pitchFamily="2" charset="2"/>
              <a:buChar char="ü"/>
            </a:pPr>
            <a:endParaRPr lang="bg-BG" sz="1200" dirty="0"/>
          </a:p>
        </p:txBody>
      </p:sp>
      <p:sp>
        <p:nvSpPr>
          <p:cNvPr id="7" name="Rectangle 6"/>
          <p:cNvSpPr/>
          <p:nvPr/>
        </p:nvSpPr>
        <p:spPr>
          <a:xfrm>
            <a:off x="834931" y="5089177"/>
            <a:ext cx="1445556" cy="646315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r>
              <a:rPr lang="bg-BG" b="1" dirty="0">
                <a:solidFill>
                  <a:srgbClr val="3C5E3C"/>
                </a:solidFill>
              </a:rPr>
              <a:t> </a:t>
            </a:r>
            <a:r>
              <a:rPr lang="en-US" b="1" dirty="0">
                <a:solidFill>
                  <a:srgbClr val="3C5E3C"/>
                </a:solidFill>
              </a:rPr>
              <a:t>ANTI-AGE </a:t>
            </a:r>
            <a:endParaRPr lang="bg-BG" b="1" dirty="0" smtClean="0">
              <a:solidFill>
                <a:srgbClr val="3C5E3C"/>
              </a:solidFill>
            </a:endParaRPr>
          </a:p>
          <a:p>
            <a:r>
              <a:rPr lang="bg-BG" b="1" dirty="0" smtClean="0">
                <a:solidFill>
                  <a:srgbClr val="3C5E3C"/>
                </a:solidFill>
              </a:rPr>
              <a:t>ПРОДУКТИ</a:t>
            </a:r>
            <a:endParaRPr lang="bg-BG" b="1" dirty="0">
              <a:solidFill>
                <a:srgbClr val="3C5E3C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729790" y="5089177"/>
            <a:ext cx="1586684" cy="923314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r>
              <a:rPr lang="en-US" b="1" dirty="0" smtClean="0">
                <a:solidFill>
                  <a:srgbClr val="3C5E3C"/>
                </a:solidFill>
              </a:rPr>
              <a:t>ALOE </a:t>
            </a:r>
            <a:r>
              <a:rPr lang="en-US" b="1" dirty="0">
                <a:solidFill>
                  <a:srgbClr val="3C5E3C"/>
                </a:solidFill>
              </a:rPr>
              <a:t>VERA </a:t>
            </a:r>
            <a:endParaRPr lang="bg-BG" b="1" dirty="0" smtClean="0">
              <a:solidFill>
                <a:srgbClr val="3C5E3C"/>
              </a:solidFill>
            </a:endParaRPr>
          </a:p>
          <a:p>
            <a:r>
              <a:rPr lang="bg-BG" b="1" dirty="0" smtClean="0">
                <a:solidFill>
                  <a:srgbClr val="3C5E3C"/>
                </a:solidFill>
              </a:rPr>
              <a:t>ПРОДУКТИ</a:t>
            </a:r>
            <a:endParaRPr lang="en-US" b="1" dirty="0">
              <a:solidFill>
                <a:srgbClr val="3C5E3C"/>
              </a:solidFill>
            </a:endParaRPr>
          </a:p>
          <a:p>
            <a:endParaRPr lang="en-US" b="1" dirty="0">
              <a:solidFill>
                <a:srgbClr val="3C5E3C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44484" y="5117614"/>
            <a:ext cx="2964020" cy="923314"/>
          </a:xfrm>
          <a:prstGeom prst="rect">
            <a:avLst/>
          </a:prstGeom>
        </p:spPr>
        <p:txBody>
          <a:bodyPr wrap="square" lIns="91424" tIns="45712" rIns="91424" bIns="45712">
            <a:spAutoFit/>
          </a:bodyPr>
          <a:lstStyle/>
          <a:p>
            <a:r>
              <a:rPr lang="bg-BG" b="1" dirty="0" smtClean="0">
                <a:solidFill>
                  <a:srgbClr val="3C5E3C"/>
                </a:solidFill>
              </a:rPr>
              <a:t>ХРАНИТЕЛНИ ДОБАВКИ</a:t>
            </a:r>
            <a:r>
              <a:rPr lang="en-US" b="1" dirty="0">
                <a:solidFill>
                  <a:srgbClr val="3C5E3C"/>
                </a:solidFill>
              </a:rPr>
              <a:t> </a:t>
            </a:r>
            <a:r>
              <a:rPr lang="bg-BG" b="1" dirty="0" smtClean="0">
                <a:solidFill>
                  <a:srgbClr val="3C5E3C"/>
                </a:solidFill>
              </a:rPr>
              <a:t>И ИМУННА ЗАЩИТА</a:t>
            </a:r>
            <a:endParaRPr lang="en-US" b="1" dirty="0">
              <a:solidFill>
                <a:srgbClr val="3C5E3C"/>
              </a:solidFill>
            </a:endParaRPr>
          </a:p>
          <a:p>
            <a:endParaRPr lang="en-US" b="1" dirty="0">
              <a:solidFill>
                <a:srgbClr val="3C5E3C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9913" y="3396411"/>
            <a:ext cx="2501942" cy="1447999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9" name="Rectangle 28"/>
          <p:cNvSpPr/>
          <p:nvPr/>
        </p:nvSpPr>
        <p:spPr>
          <a:xfrm>
            <a:off x="433846" y="1599672"/>
            <a:ext cx="2399664" cy="646315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pPr algn="ctr"/>
            <a:r>
              <a:rPr lang="bg-BG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ДУКТИ ОТ </a:t>
            </a:r>
          </a:p>
          <a:p>
            <a:pPr algn="ctr"/>
            <a:r>
              <a:rPr lang="bg-BG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О ПОКОЛЕНИЕ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761512" y="1575107"/>
            <a:ext cx="1654524" cy="646315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pPr algn="ctr"/>
            <a:r>
              <a:rPr lang="bg-BG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ТУРАЛНИ </a:t>
            </a:r>
          </a:p>
          <a:p>
            <a:pPr algn="ctr"/>
            <a:r>
              <a:rPr lang="bg-BG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ЪСТАВКИ</a:t>
            </a:r>
            <a:endParaRPr lang="en-US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341824" y="1585922"/>
            <a:ext cx="2309382" cy="646315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pPr algn="ctr"/>
            <a:r>
              <a:rPr lang="bg-BG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РТИФИЦИРАНО</a:t>
            </a:r>
          </a:p>
          <a:p>
            <a:pPr algn="ctr"/>
            <a:r>
              <a:rPr lang="bg-BG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КАЧЕСТВО</a:t>
            </a:r>
            <a:endParaRPr lang="en-US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28371" name="Picture 19" descr="https://www.lrworld.com/fileadmin/lrworld/content/ALL/4_Press/4-1_Press_releases/Produkte/ZEITGARD/LR_ZEITGARD_Anti-Age_System_erhaeltlich_unter_shop.LRworld.com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35"/>
          <a:stretch/>
        </p:blipFill>
        <p:spPr bwMode="auto">
          <a:xfrm>
            <a:off x="455366" y="2924944"/>
            <a:ext cx="2426153" cy="2001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48" name="Picture 2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771" y="3284984"/>
            <a:ext cx="2845530" cy="1770552"/>
          </a:xfrm>
          <a:prstGeom prst="rect">
            <a:avLst/>
          </a:prstGeom>
          <a:ln>
            <a:noFill/>
          </a:ln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62818" y="4179124"/>
            <a:ext cx="600239" cy="1520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4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255" y="702430"/>
            <a:ext cx="7573665" cy="334981"/>
          </a:xfrm>
        </p:spPr>
        <p:txBody>
          <a:bodyPr/>
          <a:lstStyle/>
          <a:p>
            <a:r>
              <a:rPr lang="bg-BG" sz="2100" dirty="0">
                <a:solidFill>
                  <a:schemeClr val="bg1">
                    <a:lumMod val="50000"/>
                  </a:schemeClr>
                </a:solidFill>
              </a:rPr>
              <a:t>ЗВЕЗДИ </a:t>
            </a:r>
            <a:r>
              <a:rPr lang="en-GB" sz="2100" dirty="0">
                <a:solidFill>
                  <a:schemeClr val="bg1">
                    <a:lumMod val="50000"/>
                  </a:schemeClr>
                </a:solidFill>
              </a:rPr>
              <a:t>&amp; </a:t>
            </a:r>
            <a:r>
              <a:rPr lang="bg-BG" sz="2100" dirty="0">
                <a:solidFill>
                  <a:schemeClr val="bg1">
                    <a:lumMod val="50000"/>
                  </a:schemeClr>
                </a:solidFill>
              </a:rPr>
              <a:t>ПАРФЮМИ</a:t>
            </a:r>
            <a:endParaRPr lang="bg-B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800124" y="1599673"/>
            <a:ext cx="7205143" cy="4809596"/>
          </a:xfrm>
          <a:prstGeom prst="rect">
            <a:avLst/>
          </a:prstGeom>
          <a:ln w="25400" cap="flat" cmpd="sng" algn="ctr">
            <a:solidFill>
              <a:schemeClr val="bg1"/>
            </a:solidFill>
            <a:prstDash val="soli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0" tIns="0" rIns="0" bIns="0" rtlCol="0" anchor="t" anchorCtr="0">
            <a:normAutofit/>
          </a:bodyPr>
          <a:lstStyle>
            <a:lvl1pPr marL="0" indent="0" algn="l" defTabSz="99569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9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99569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9569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Char char="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28650" indent="-266700" algn="l" defTabSz="995690" rtl="0" eaLnBrk="1" latinLnBrk="0" hangingPunct="1">
              <a:spcBef>
                <a:spcPts val="600"/>
              </a:spcBef>
              <a:buClr>
                <a:schemeClr val="accent1"/>
              </a:buClr>
              <a:buSzPct val="130000"/>
              <a:buFont typeface="Wingdings 2" panose="05020102010507070707" pitchFamily="18" charset="2"/>
              <a:buChar char="¡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895350" indent="-266700" algn="l" defTabSz="995690" rtl="0" eaLnBrk="1" latinLnBrk="0" hangingPunct="1">
              <a:spcBef>
                <a:spcPts val="600"/>
              </a:spcBef>
              <a:buClr>
                <a:schemeClr val="accent1"/>
              </a:buClr>
              <a:buSzPct val="130000"/>
              <a:buFont typeface="Wingdings 2" panose="05020102010507070707" pitchFamily="18" charset="2"/>
              <a:buChar char="¡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7845" indent="-187845">
              <a:buFont typeface="Arial" panose="020B0604020202020204" pitchFamily="34" charset="0"/>
              <a:buChar char="•"/>
            </a:pPr>
            <a:endParaRPr lang="en-US" sz="1100">
              <a:solidFill>
                <a:schemeClr val="tx1"/>
              </a:solidFill>
            </a:endParaRPr>
          </a:p>
          <a:p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7" name="Picture 48" descr="T:\Marketing\Campaignes\PR\LR presentation 11.05\fragrance\starbox.bm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8" b="2547"/>
          <a:stretch/>
        </p:blipFill>
        <p:spPr bwMode="auto">
          <a:xfrm rot="1723290">
            <a:off x="2566966" y="2146063"/>
            <a:ext cx="3299120" cy="2104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1" descr="T:\Marketing\Campaignes\PR\LR presentation 11.05\fragrance\BW personal edition.bmp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9589" y="5163080"/>
            <a:ext cx="783267" cy="1246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2" descr="T:\Marketing\Campaignes\PR\LR presentation 11.05\fragrance\GMK men.bmp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001" y="3706865"/>
            <a:ext cx="767205" cy="121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5" descr="T:\Marketing\Campaignes\PR\LR presentation 11.05\fragrance\emma heming willis.bmp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324" y="4615961"/>
            <a:ext cx="1188487" cy="185090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4" descr="T:\Marketing\Campaignes\PR\LR presentation 11.05\fragrance\lightning collection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2293" y="5178847"/>
            <a:ext cx="1496134" cy="1022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6" descr="T:\Marketing\Campaignes\PR\LR presentation 11.05\fragrance\lovingly.bmp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8" t="9378" r="-5338" b="6263"/>
          <a:stretch/>
        </p:blipFill>
        <p:spPr bwMode="auto">
          <a:xfrm>
            <a:off x="3231174" y="4208620"/>
            <a:ext cx="744150" cy="969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9" descr="T:\Marketing\Campaignes\PR\LR presentation 11.05\fragrance\cristina ferreira.bmp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001" y="1434755"/>
            <a:ext cx="2254826" cy="22375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7" descr="T:\Marketing\Campaignes\PR\LR presentation 11.05\fragrance\meu.bmp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5897" y="2786543"/>
            <a:ext cx="704038" cy="99108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1" descr="T:\Marketing\Campaignes\PR\LR presentation 11.05\fragrance\bruce pic.bmp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159"/>
          <a:stretch/>
        </p:blipFill>
        <p:spPr bwMode="auto">
          <a:xfrm>
            <a:off x="1090257" y="4273511"/>
            <a:ext cx="1939553" cy="201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9" descr="T:\Marketing\Campaignes\PR\LR presentation 11.05\fragrance\bruce willis.bmp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13" y="5081348"/>
            <a:ext cx="1231013" cy="166675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2" descr="T:\Marketing\Campaignes\PR\LR presentation 11.05\fragrance\karolina pic.bmp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55" y="1465378"/>
            <a:ext cx="1254314" cy="1762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0" descr="T:\Marketing\Campaignes\PR\LR presentation 11.05\fragrance\karolina kurkova.bmp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963" y="3282705"/>
            <a:ext cx="744123" cy="9338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T:\Marketing\Campaignes\PR\LR presentation 11.05\fragrance\Karolina.bmp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75" y="3308415"/>
            <a:ext cx="681289" cy="90481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3" descr="T:\Marketing\Campaignes\PR\LR presentation 11.05\fragrance\guido.bmp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6035" y="4482484"/>
            <a:ext cx="1126970" cy="197043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53" descr="T:\Marketing\Campaignes\PR\LR presentation 11.05\fragrance\GMK women.bmp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060" y="4140904"/>
            <a:ext cx="649799" cy="1022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2601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04" name="Rectangle 2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1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6075" y="5232754"/>
            <a:ext cx="987874" cy="989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1821" name="Picture 93" descr="http://www.detebg.org/data/images/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312" y="4628890"/>
            <a:ext cx="1689091" cy="946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824" name="Picture 96" descr="https://www.lrworld.com/typo3temp/pics/LR-GKF-Logo_403728f848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284" y="1742841"/>
            <a:ext cx="2095500" cy="2247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31779" y="1530607"/>
            <a:ext cx="5978051" cy="5366068"/>
          </a:xfrm>
          <a:prstGeom prst="rect">
            <a:avLst/>
          </a:prstGeom>
        </p:spPr>
        <p:txBody>
          <a:bodyPr wrap="square" lIns="91424" tIns="45712" rIns="91424" bIns="45712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R Health &amp; Beauty</a:t>
            </a:r>
            <a:r>
              <a:rPr lang="bg-BG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- мисия и цели в България</a:t>
            </a:r>
          </a:p>
          <a:p>
            <a:pPr marL="285700" indent="-2857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bg-BG" dirty="0">
              <a:solidFill>
                <a:srgbClr val="83AD81"/>
              </a:solidFill>
            </a:endParaRPr>
          </a:p>
          <a:p>
            <a:pPr marL="285700" indent="-28570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r>
            <a:r>
              <a:rPr lang="bg-BG" sz="2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bg-BG" sz="2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одини на българския </a:t>
            </a:r>
            <a:r>
              <a:rPr lang="bg-BG" sz="2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азар</a:t>
            </a:r>
            <a:endParaRPr lang="en-US" sz="2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just">
              <a:lnSpc>
                <a:spcPct val="115000"/>
              </a:lnSpc>
            </a:pPr>
            <a:endParaRPr lang="bg-BG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00" indent="-2857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Над 5 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</a:t>
            </a: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 </a:t>
            </a:r>
            <a:r>
              <a:rPr lang="bg-BG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независими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bg-BG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ътрудници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–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bg-BG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артньори-дистрибутори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285700" indent="-285700">
              <a:buFont typeface="Arial" panose="020B0604020202020204" pitchFamily="34" charset="0"/>
              <a:buChar char="•"/>
            </a:pP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00" indent="-285700">
              <a:buFont typeface="Arial" panose="020B0604020202020204" pitchFamily="34" charset="0"/>
              <a:buChar char="•"/>
            </a:pPr>
            <a:r>
              <a:rPr lang="bg-BG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критие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на </a:t>
            </a:r>
            <a:r>
              <a:rPr lang="bg-BG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цялата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страна</a:t>
            </a: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bg-BG" dirty="0">
              <a:solidFill>
                <a:srgbClr val="83AD81"/>
              </a:solidFill>
            </a:endParaRPr>
          </a:p>
          <a:p>
            <a:pPr marL="285750" indent="-285750" algn="just">
              <a:lnSpc>
                <a:spcPct val="115000"/>
              </a:lnSpc>
              <a:buFont typeface="Wingdings" panose="05000000000000000000" pitchFamily="2" charset="2"/>
              <a:buChar char="v"/>
            </a:pPr>
            <a:r>
              <a:rPr lang="bg-B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Нашата фондация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R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LOBAL KIDS FUND</a:t>
            </a:r>
            <a:r>
              <a:rPr lang="bg-B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одкрепя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роекта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ДЕТСКА КЪЩА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” </a:t>
            </a:r>
            <a:r>
              <a:rPr lang="bg-B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 Фондация „За Нашите Деца“ с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36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ЕВРО за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ериода 2015-201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7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г.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algn="just">
              <a:lnSpc>
                <a:spcPct val="115000"/>
              </a:lnSpc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1187281" y="735101"/>
            <a:ext cx="5849412" cy="3539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95690" rtl="0" eaLnBrk="1" latinLnBrk="0" hangingPunct="1">
              <a:spcBef>
                <a:spcPct val="0"/>
              </a:spcBef>
              <a:buNone/>
              <a:defRPr sz="23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R HEALTH &amp; BEAUTY </a:t>
            </a:r>
            <a:r>
              <a:rPr lang="bg-BG" dirty="0">
                <a:solidFill>
                  <a:schemeClr val="bg1">
                    <a:lumMod val="50000"/>
                  </a:schemeClr>
                </a:solidFill>
              </a:rPr>
              <a:t>В БЪЛГАРИЯ</a:t>
            </a:r>
          </a:p>
        </p:txBody>
      </p:sp>
    </p:spTree>
    <p:extLst>
      <p:ext uri="{BB962C8B-B14F-4D97-AF65-F5344CB8AC3E}">
        <p14:creationId xmlns:p14="http://schemas.microsoft.com/office/powerpoint/2010/main" val="335274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97680"/>
              </p:ext>
            </p:extLst>
          </p:nvPr>
        </p:nvGraphicFramePr>
        <p:xfrm>
          <a:off x="1460" y="1543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0" y="1543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1021512" y="505990"/>
            <a:ext cx="80648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>
                <a:latin typeface="Calibri" panose="020F0502020204030204" pitchFamily="34" charset="0"/>
              </a:rPr>
              <a:t>LR </a:t>
            </a:r>
            <a:r>
              <a:rPr lang="bg-BG" sz="3200" b="1" dirty="0" smtClean="0">
                <a:latin typeface="Calibri" panose="020F0502020204030204" pitchFamily="34" charset="0"/>
              </a:rPr>
              <a:t>факторите </a:t>
            </a:r>
            <a:r>
              <a:rPr lang="bg-BG" sz="3200" b="1" dirty="0">
                <a:latin typeface="Calibri" panose="020F0502020204030204" pitchFamily="34" charset="0"/>
              </a:rPr>
              <a:t>на </a:t>
            </a:r>
            <a:r>
              <a:rPr lang="bg-BG" sz="3200" b="1" dirty="0" smtClean="0">
                <a:latin typeface="Calibri" panose="020F0502020204030204" pitchFamily="34" charset="0"/>
              </a:rPr>
              <a:t>успеха</a:t>
            </a:r>
            <a:endParaRPr lang="en-US" sz="3200" b="1" dirty="0">
              <a:latin typeface="Calibri" panose="020F0502020204030204" pitchFamily="34" charset="0"/>
            </a:endParaRPr>
          </a:p>
        </p:txBody>
      </p:sp>
      <p:sp>
        <p:nvSpPr>
          <p:cNvPr id="12" name="Rechteck 52"/>
          <p:cNvSpPr/>
          <p:nvPr/>
        </p:nvSpPr>
        <p:spPr>
          <a:xfrm>
            <a:off x="7212371" y="2228255"/>
            <a:ext cx="1608406" cy="1742583"/>
          </a:xfrm>
          <a:prstGeom prst="rect">
            <a:avLst/>
          </a:prstGeom>
          <a:solidFill>
            <a:srgbClr val="788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165868" y="1366481"/>
            <a:ext cx="8704941" cy="307777"/>
          </a:xfrm>
        </p:spPr>
        <p:txBody>
          <a:bodyPr/>
          <a:lstStyle/>
          <a:p>
            <a:r>
              <a:rPr lang="bg-BG" dirty="0" smtClean="0"/>
              <a:t> </a:t>
            </a:r>
            <a:endParaRPr lang="de-DE" sz="3200" dirty="0"/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6962187" y="2810068"/>
            <a:ext cx="2108773" cy="992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sz="165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bg-BG" altLang="de-DE" sz="16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sz="16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о</a:t>
            </a:r>
            <a:r>
              <a:rPr lang="bg-BG" altLang="de-DE" sz="16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бслужване на сътрудниците</a:t>
            </a:r>
            <a:endParaRPr lang="de-DE" altLang="de-DE" sz="16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8471213" y="222825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5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7" name="Picture 15" descr="Bild12"/>
          <p:cNvPicPr preferRelativeResize="0"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2371" y="3970838"/>
            <a:ext cx="1608406" cy="1735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49"/>
          <p:cNvSpPr/>
          <p:nvPr/>
        </p:nvSpPr>
        <p:spPr>
          <a:xfrm>
            <a:off x="5465068" y="2228255"/>
            <a:ext cx="1608406" cy="1742583"/>
          </a:xfrm>
          <a:prstGeom prst="rect">
            <a:avLst/>
          </a:prstGeom>
          <a:solidFill>
            <a:srgbClr val="788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0"/>
          <p:cNvSpPr txBox="1">
            <a:spLocks noChangeArrowheads="1"/>
          </p:cNvSpPr>
          <p:nvPr/>
        </p:nvSpPr>
        <p:spPr bwMode="auto">
          <a:xfrm>
            <a:off x="5535700" y="3040900"/>
            <a:ext cx="1463542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автомобили</a:t>
            </a:r>
            <a:endParaRPr altLang="de-DE" sz="1600" b="1" dirty="0">
              <a:solidFill>
                <a:srgbClr val="FFFFFF"/>
              </a:solidFill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6666619" y="222825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4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21" name="Picture 3" descr="Autokonzept_Flyer_NEU"/>
          <p:cNvPicPr preferRelativeResize="0"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65068" y="3970838"/>
            <a:ext cx="1608406" cy="173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6"/>
          <p:cNvSpPr/>
          <p:nvPr/>
        </p:nvSpPr>
        <p:spPr>
          <a:xfrm>
            <a:off x="3648314" y="2228255"/>
            <a:ext cx="1760447" cy="1742583"/>
          </a:xfrm>
          <a:prstGeom prst="rect">
            <a:avLst/>
          </a:prstGeom>
          <a:solidFill>
            <a:srgbClr val="788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3" name="Rectangle 8"/>
          <p:cNvSpPr txBox="1">
            <a:spLocks noChangeArrowheads="1"/>
          </p:cNvSpPr>
          <p:nvPr/>
        </p:nvSpPr>
        <p:spPr bwMode="auto">
          <a:xfrm>
            <a:off x="3648314" y="2985953"/>
            <a:ext cx="181675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 err="1" smtClean="0">
                <a:solidFill>
                  <a:srgbClr val="FFFFFF"/>
                </a:solidFill>
              </a:rPr>
              <a:t>Ясн</a:t>
            </a:r>
            <a:r>
              <a:rPr lang="en-US" altLang="de-DE" sz="1600" b="1" dirty="0" smtClean="0">
                <a:solidFill>
                  <a:srgbClr val="FFFFFF"/>
                </a:solidFill>
              </a:rPr>
              <a:t>a</a:t>
            </a:r>
            <a:r>
              <a:rPr lang="bg-BG" altLang="de-DE" sz="1600" b="1" dirty="0" smtClean="0">
                <a:solidFill>
                  <a:srgbClr val="FFFFFF"/>
                </a:solidFill>
              </a:rPr>
              <a:t> </a:t>
            </a:r>
            <a:r>
              <a:rPr lang="bg-BG" altLang="de-DE" sz="1600" b="1" dirty="0">
                <a:solidFill>
                  <a:srgbClr val="FFFFFF"/>
                </a:solidFill>
              </a:rPr>
              <a:t>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 err="1" smtClean="0">
                <a:solidFill>
                  <a:srgbClr val="FFFFFF"/>
                </a:solidFill>
              </a:rPr>
              <a:t>прозрачн</a:t>
            </a:r>
            <a:r>
              <a:rPr lang="en-US" altLang="de-DE" sz="1600" b="1" dirty="0" smtClean="0">
                <a:solidFill>
                  <a:srgbClr val="FFFFFF"/>
                </a:solidFill>
              </a:rPr>
              <a:t>a</a:t>
            </a:r>
            <a:r>
              <a:rPr lang="bg-BG" altLang="de-DE" sz="1600" b="1" dirty="0" smtClean="0">
                <a:solidFill>
                  <a:srgbClr val="FFFFFF"/>
                </a:solidFill>
              </a:rPr>
              <a:t> </a:t>
            </a:r>
            <a:endParaRPr lang="bg-BG" altLang="de-DE" sz="1600" b="1" dirty="0">
              <a:solidFill>
                <a:srgbClr val="FFFFFF"/>
              </a:solidFill>
            </a:endParaRP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с</a:t>
            </a:r>
            <a:r>
              <a:rPr lang="bg-BG" altLang="de-DE" sz="1600" b="1" dirty="0" smtClean="0">
                <a:solidFill>
                  <a:srgbClr val="FFFFFF"/>
                </a:solidFill>
              </a:rPr>
              <a:t>истема за възнаграждения</a:t>
            </a:r>
            <a:endParaRPr altLang="de-DE" sz="1600" b="1" dirty="0">
              <a:solidFill>
                <a:srgbClr val="FFFFFF"/>
              </a:solidFill>
            </a:endParaRPr>
          </a:p>
        </p:txBody>
      </p:sp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4919316" y="222825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dirty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3</a:t>
            </a:r>
            <a:endParaRPr lang="en-US" sz="4800" spc="0" dirty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25" name="Picture 7" descr="Bild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7765" y="3970838"/>
            <a:ext cx="1690996" cy="173583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hteck 43"/>
          <p:cNvSpPr/>
          <p:nvPr/>
        </p:nvSpPr>
        <p:spPr>
          <a:xfrm>
            <a:off x="1901013" y="2228255"/>
            <a:ext cx="1677855" cy="1742583"/>
          </a:xfrm>
          <a:prstGeom prst="rect">
            <a:avLst/>
          </a:prstGeom>
          <a:solidFill>
            <a:srgbClr val="788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Rectangle 31"/>
          <p:cNvSpPr txBox="1">
            <a:spLocks noChangeArrowheads="1"/>
          </p:cNvSpPr>
          <p:nvPr/>
        </p:nvSpPr>
        <p:spPr bwMode="auto">
          <a:xfrm>
            <a:off x="1740700" y="3063004"/>
            <a:ext cx="202035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знаменитости</a:t>
            </a:r>
            <a:endParaRPr altLang="de-DE" sz="1600" b="1" dirty="0">
              <a:solidFill>
                <a:srgbClr val="FFFFFF"/>
              </a:solidFill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 bwMode="auto">
          <a:xfrm>
            <a:off x="3200659" y="222825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2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29" name="Picture 133" descr="C:\Users\cabral\AppData\Local\Microsoft\Windows\Temporary Internet Files\Content.Outlook\IW0RRCBJ\Bruce02 1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01013" y="3970838"/>
            <a:ext cx="1677855" cy="181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hteck 4"/>
          <p:cNvSpPr/>
          <p:nvPr/>
        </p:nvSpPr>
        <p:spPr>
          <a:xfrm>
            <a:off x="223159" y="2228255"/>
            <a:ext cx="1608406" cy="1742583"/>
          </a:xfrm>
          <a:prstGeom prst="rect">
            <a:avLst/>
          </a:prstGeom>
          <a:solidFill>
            <a:srgbClr val="7887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1" name="Rectangle 35"/>
          <p:cNvSpPr txBox="1">
            <a:spLocks noChangeArrowheads="1"/>
          </p:cNvSpPr>
          <p:nvPr/>
        </p:nvSpPr>
        <p:spPr bwMode="auto">
          <a:xfrm>
            <a:off x="314027" y="3004980"/>
            <a:ext cx="1426673" cy="7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sz="1600" b="1" dirty="0">
                <a:solidFill>
                  <a:srgbClr val="FFFFFF"/>
                </a:solidFill>
              </a:rPr>
              <a:t>Топ продукти</a:t>
            </a:r>
            <a:r>
              <a:rPr altLang="de-DE" sz="1600" b="1" dirty="0">
                <a:solidFill>
                  <a:srgbClr val="FFFFFF"/>
                </a:solidFill>
              </a:rPr>
              <a:t/>
            </a:r>
            <a:br>
              <a:rPr altLang="de-DE" sz="1600" b="1" dirty="0">
                <a:solidFill>
                  <a:srgbClr val="FFFFFF"/>
                </a:solidFill>
              </a:rPr>
            </a:br>
            <a:r>
              <a:rPr altLang="de-DE" sz="1600" b="1" dirty="0">
                <a:solidFill>
                  <a:srgbClr val="FFFFFF"/>
                </a:solidFill>
              </a:rPr>
              <a:t>Made</a:t>
            </a:r>
            <a:br>
              <a:rPr altLang="de-DE" sz="1600" b="1" dirty="0">
                <a:solidFill>
                  <a:srgbClr val="FFFFFF"/>
                </a:solidFill>
              </a:rPr>
            </a:br>
            <a:r>
              <a:rPr altLang="de-DE" sz="1600" b="1" dirty="0">
                <a:solidFill>
                  <a:srgbClr val="FFFFFF"/>
                </a:solidFill>
              </a:rPr>
              <a:t>in Germany</a:t>
            </a:r>
          </a:p>
        </p:txBody>
      </p:sp>
      <p:sp>
        <p:nvSpPr>
          <p:cNvPr id="32" name="Rectangle 3"/>
          <p:cNvSpPr txBox="1">
            <a:spLocks noChangeArrowheads="1"/>
          </p:cNvSpPr>
          <p:nvPr/>
        </p:nvSpPr>
        <p:spPr bwMode="auto">
          <a:xfrm>
            <a:off x="1424710" y="2228255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>
              <a:bevelT w="69850" h="8255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rPr>
              <a:t>1</a:t>
            </a:r>
            <a:endParaRPr lang="en-US" sz="4800" spc="0">
              <a:effectLst>
                <a:outerShdw blurRad="50800" dist="38100" dir="13500000" algn="b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pSp>
        <p:nvGrpSpPr>
          <p:cNvPr id="33" name="Gruppieren 9"/>
          <p:cNvGrpSpPr>
            <a:grpSpLocks noChangeAspect="1"/>
          </p:cNvGrpSpPr>
          <p:nvPr/>
        </p:nvGrpSpPr>
        <p:grpSpPr>
          <a:xfrm>
            <a:off x="223159" y="3970838"/>
            <a:ext cx="1608406" cy="1735839"/>
            <a:chOff x="278740" y="3114248"/>
            <a:chExt cx="1482725" cy="1600200"/>
          </a:xfrm>
        </p:grpSpPr>
        <p:sp>
          <p:nvSpPr>
            <p:cNvPr id="34" name="Rechteck 6"/>
            <p:cNvSpPr/>
            <p:nvPr/>
          </p:nvSpPr>
          <p:spPr>
            <a:xfrm>
              <a:off x="278740" y="3114248"/>
              <a:ext cx="1482725" cy="1600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35" name="Gruppieren 8"/>
            <p:cNvGrpSpPr/>
            <p:nvPr/>
          </p:nvGrpSpPr>
          <p:grpSpPr>
            <a:xfrm>
              <a:off x="622670" y="3165659"/>
              <a:ext cx="794866" cy="1497378"/>
              <a:chOff x="582147" y="3217069"/>
              <a:chExt cx="794866" cy="1497378"/>
            </a:xfrm>
          </p:grpSpPr>
          <p:pic>
            <p:nvPicPr>
              <p:cNvPr id="36" name="Picture 37"/>
              <p:cNvPicPr>
                <a:picLocks noChangeAspect="1" noChangeArrowheads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82147" y="3217069"/>
                <a:ext cx="794866" cy="544015"/>
              </a:xfrm>
              <a:prstGeom prst="rect">
                <a:avLst/>
              </a:prstGeom>
              <a:noFill/>
              <a:ln w="9525">
                <a:solidFill>
                  <a:srgbClr val="012E55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37" name="Picture 38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147" y="3824196"/>
                <a:ext cx="794866" cy="890251"/>
              </a:xfrm>
              <a:prstGeom prst="rect">
                <a:avLst/>
              </a:prstGeom>
              <a:noFill/>
              <a:ln w="9525">
                <a:solidFill>
                  <a:srgbClr val="012E55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92327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1110007" y="548680"/>
            <a:ext cx="840232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3600" b="1" kern="1200" spc="0" baseline="0" dirty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Calibri" pitchFamily="34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defTabSz="914400"/>
            <a:r>
              <a:rPr lang="de-DE" sz="3200" dirty="0" smtClean="0">
                <a:solidFill>
                  <a:schemeClr val="tx1"/>
                </a:solidFill>
                <a:effectLst/>
                <a:latin typeface="Calibri"/>
              </a:rPr>
              <a:t>LR</a:t>
            </a:r>
            <a:r>
              <a:rPr lang="bg-BG" sz="3200" dirty="0" smtClean="0">
                <a:solidFill>
                  <a:schemeClr val="tx1"/>
                </a:solidFill>
                <a:effectLst/>
                <a:latin typeface="Calibri"/>
              </a:rPr>
              <a:t> факторите на успеха </a:t>
            </a:r>
            <a:endParaRPr lang="de-DE" sz="3200" dirty="0">
              <a:solidFill>
                <a:schemeClr val="tx1"/>
              </a:solidFill>
              <a:effectLst/>
              <a:latin typeface="Calibri"/>
            </a:endParaRPr>
          </a:p>
        </p:txBody>
      </p:sp>
      <p:sp>
        <p:nvSpPr>
          <p:cNvPr id="6" name="Rechteck 52"/>
          <p:cNvSpPr/>
          <p:nvPr/>
        </p:nvSpPr>
        <p:spPr>
          <a:xfrm>
            <a:off x="7283439" y="1465118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7480906" y="2208513"/>
            <a:ext cx="1213474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anchor="b" anchorCtr="0">
            <a:spAutoFit/>
          </a:bodyPr>
          <a:lstStyle/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тлично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учение и </a:t>
            </a:r>
          </a:p>
          <a:p>
            <a:pPr algn="ctr" defTabSz="912813" fontAlgn="base">
              <a:spcAft>
                <a:spcPct val="0"/>
              </a:spcAft>
              <a:buSzPct val="120000"/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latin typeface="Calibri"/>
                <a:cs typeface="Arial" charset="0"/>
              </a:rPr>
              <a:t>обслужване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8484990" y="1465118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5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9" name="Picture 15" descr="Bild12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83439" y="3207701"/>
            <a:ext cx="1608406" cy="1735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49"/>
          <p:cNvSpPr/>
          <p:nvPr/>
        </p:nvSpPr>
        <p:spPr>
          <a:xfrm>
            <a:off x="5536136" y="1465118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1" name="Rectangle 10"/>
          <p:cNvSpPr txBox="1">
            <a:spLocks noChangeArrowheads="1"/>
          </p:cNvSpPr>
          <p:nvPr/>
        </p:nvSpPr>
        <p:spPr bwMode="auto">
          <a:xfrm>
            <a:off x="5628605" y="2208513"/>
            <a:ext cx="14234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Уникалн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концепция за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автомобили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6737687" y="1465118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4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3" name="Picture 3" descr="Autokonzept_Flyer_NEU"/>
          <p:cNvPicPr preferRelativeResize="0"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36136" y="3207701"/>
            <a:ext cx="1608406" cy="173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46"/>
          <p:cNvSpPr/>
          <p:nvPr/>
        </p:nvSpPr>
        <p:spPr>
          <a:xfrm>
            <a:off x="3788833" y="1465118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5" name="Rectangle 8"/>
          <p:cNvSpPr txBox="1">
            <a:spLocks noChangeArrowheads="1"/>
          </p:cNvSpPr>
          <p:nvPr/>
        </p:nvSpPr>
        <p:spPr bwMode="auto">
          <a:xfrm>
            <a:off x="3851920" y="2300846"/>
            <a:ext cx="136815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180975" indent="-17938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Wingdings" pitchFamily="2" charset="2"/>
              <a:buChar char="§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2pPr>
            <a:lvl3pPr marL="361950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itchFamily="34" charset="0"/>
              <a:buChar char="•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3pPr>
            <a:lvl4pPr marL="542925" indent="-1809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4pPr>
            <a:lvl5pPr marL="714375" indent="-17145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Symbol" pitchFamily="18" charset="2"/>
              <a:buChar char="-"/>
              <a:defRPr lang="en-GB" sz="1800" b="0" kern="0" spc="0" baseline="0" dirty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Calibri" pitchFamily="34" charset="0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Я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на </a:t>
            </a: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и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ru-RU" altLang="de-DE" sz="1400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п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розрачна </a:t>
            </a:r>
            <a:r>
              <a:rPr lang="ru-RU" altLang="de-DE" sz="1400" b="1" dirty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истема за </a:t>
            </a:r>
            <a:r>
              <a:rPr lang="ru-RU" altLang="de-DE" sz="1400" b="1" dirty="0" err="1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възнаграждения</a:t>
            </a:r>
            <a:endParaRPr lang="ru-RU" altLang="de-DE" sz="1400" b="1" dirty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4990384" y="1465118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3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pic>
        <p:nvPicPr>
          <p:cNvPr id="17" name="Picture 7" descr="Bild10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25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8833" y="3207701"/>
            <a:ext cx="1608406" cy="173583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43"/>
          <p:cNvSpPr/>
          <p:nvPr/>
        </p:nvSpPr>
        <p:spPr>
          <a:xfrm>
            <a:off x="2041530" y="1465118"/>
            <a:ext cx="1608406" cy="1742583"/>
          </a:xfrm>
          <a:prstGeom prst="rect">
            <a:avLst/>
          </a:prstGeom>
          <a:solidFill>
            <a:srgbClr val="AEAEAE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19" name="Rectangle 31"/>
          <p:cNvSpPr txBox="1">
            <a:spLocks noChangeArrowheads="1"/>
          </p:cNvSpPr>
          <p:nvPr/>
        </p:nvSpPr>
        <p:spPr bwMode="auto">
          <a:xfrm>
            <a:off x="2044909" y="2208513"/>
            <a:ext cx="166552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трудничество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със </a:t>
            </a:r>
          </a:p>
          <a:p>
            <a:pPr algn="ctr" defTabSz="914400" eaLnBrk="1" hangingPunct="1">
              <a:spcBef>
                <a:spcPts val="0"/>
              </a:spcBef>
            </a:pPr>
            <a:r>
              <a:rPr lang="bg-BG" altLang="de-DE" b="1" dirty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знаменитости</a:t>
            </a: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3243081" y="1465118"/>
            <a:ext cx="312585" cy="738664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GB" sz="3600" b="1" kern="1200" spc="230" dirty="0">
                <a:gradFill flip="none" rotWithShape="1">
                  <a:gsLst>
                    <a:gs pos="0">
                      <a:srgbClr val="E6DCAC"/>
                    </a:gs>
                    <a:gs pos="12000">
                      <a:srgbClr val="E6D78A"/>
                    </a:gs>
                    <a:gs pos="30000">
                      <a:srgbClr val="C7AC4C"/>
                    </a:gs>
                    <a:gs pos="45000">
                      <a:srgbClr val="E6D78A"/>
                    </a:gs>
                    <a:gs pos="77000">
                      <a:srgbClr val="C7AC4C"/>
                    </a:gs>
                    <a:gs pos="100000">
                      <a:srgbClr val="E6DCAC"/>
                    </a:gs>
                  </a:gsLst>
                  <a:lin ang="5400000" scaled="0"/>
                  <a:tileRect/>
                </a:gra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  <a:reflection blurRad="165100" stA="54000" endPos="38000" dir="5400000" sy="-100000" algn="bl" rotWithShape="0"/>
                </a:effectLst>
                <a:latin typeface="+mn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FFFFFF"/>
                </a:solidFill>
                <a:latin typeface="Calibri" pitchFamily="34" charset="0"/>
                <a:cs typeface="Calibri" pitchFamily="34" charset="0"/>
              </a:defRPr>
            </a:lvl9pPr>
          </a:lstStyle>
          <a:p>
            <a:pPr algn="ctr" defTabSz="914400" eaLnBrk="0" hangingPunct="0">
              <a:defRPr/>
            </a:pPr>
            <a:r>
              <a:rPr lang="en-US" sz="4800" spc="0" smtClean="0">
                <a:solidFill>
                  <a:srgbClr val="AEAEAE">
                    <a:lumMod val="75000"/>
                  </a:srgbClr>
                </a:solidFill>
                <a:effectLst/>
                <a:latin typeface="Calibri"/>
              </a:rPr>
              <a:t>2</a:t>
            </a:r>
            <a:endParaRPr lang="en-US" sz="4800" spc="0">
              <a:solidFill>
                <a:srgbClr val="AEAEAE">
                  <a:lumMod val="75000"/>
                </a:srgbClr>
              </a:solidFill>
              <a:effectLst/>
              <a:latin typeface="Calibri"/>
            </a:endParaRPr>
          </a:p>
        </p:txBody>
      </p:sp>
      <p:sp>
        <p:nvSpPr>
          <p:cNvPr id="21" name="Rechteck 4"/>
          <p:cNvSpPr/>
          <p:nvPr/>
        </p:nvSpPr>
        <p:spPr>
          <a:xfrm>
            <a:off x="294227" y="1465118"/>
            <a:ext cx="1608406" cy="1742583"/>
          </a:xfrm>
          <a:prstGeom prst="rect">
            <a:avLst/>
          </a:prstGeom>
          <a:solidFill>
            <a:srgbClr val="78876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</a:endParaRPr>
          </a:p>
        </p:txBody>
      </p:sp>
      <p:sp>
        <p:nvSpPr>
          <p:cNvPr id="22" name="Rectangle 35"/>
          <p:cNvSpPr txBox="1">
            <a:spLocks noChangeArrowheads="1"/>
          </p:cNvSpPr>
          <p:nvPr/>
        </p:nvSpPr>
        <p:spPr bwMode="auto">
          <a:xfrm>
            <a:off x="418758" y="2208513"/>
            <a:ext cx="135934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  <a:scene3d>
              <a:camera prst="orthographicFront"/>
              <a:lightRig rig="threePt" dir="t"/>
            </a:scene3d>
            <a:sp3d prstMaterial="metal"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defRPr lang="de-DE" sz="1800" b="0" kern="0" spc="0" baseline="0" dirty="0" smtClean="0">
                <a:solidFill>
                  <a:schemeClr val="bg1"/>
                </a:solidFill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  <a:lvl2pPr marL="200025" indent="-198438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2pPr>
            <a:lvl3pPr marL="400050" indent="-2190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3pPr>
            <a:lvl4pPr marL="600075" indent="-23812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4pPr>
            <a:lvl5pPr marL="800100" indent="-257175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 lang="de-DE" sz="1800" b="0" kern="0" spc="0" baseline="0" dirty="0" smtClean="0">
                <a:solidFill>
                  <a:schemeClr val="bg1"/>
                </a:solidFill>
                <a:effectLst/>
                <a:latin typeface="+mn-lt"/>
                <a:ea typeface="Calibri" pitchFamily="34" charset="0"/>
                <a:cs typeface="+mn-cs"/>
              </a:defRPr>
            </a:lvl5pPr>
            <a:lvl6pPr marL="15367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6pPr>
            <a:lvl7pPr marL="19939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7pPr>
            <a:lvl8pPr marL="24511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8pPr>
            <a:lvl9pPr marL="2908300" indent="-277813" algn="l" rtl="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algn="ctr" defTabSz="914400" eaLnBrk="1" hangingPunct="1">
              <a:spcBef>
                <a:spcPts val="0"/>
              </a:spcBef>
            </a:pPr>
            <a:r>
              <a:rPr lang="en-US" altLang="de-DE" b="1" dirty="0" err="1">
                <a:solidFill>
                  <a:srgbClr val="FFFFFF"/>
                </a:solidFill>
                <a:latin typeface="Calibri"/>
              </a:rPr>
              <a:t>Топ</a:t>
            </a:r>
            <a:r>
              <a:rPr lang="en-US" altLang="de-DE" b="1" dirty="0">
                <a:solidFill>
                  <a:srgbClr val="FFFFFF"/>
                </a:solidFill>
                <a:latin typeface="Calibri"/>
              </a:rPr>
              <a:t> </a:t>
            </a:r>
            <a:r>
              <a:rPr lang="en-US" altLang="de-DE" b="1" dirty="0" err="1">
                <a:solidFill>
                  <a:srgbClr val="FFFFFF"/>
                </a:solidFill>
                <a:latin typeface="Calibri"/>
              </a:rPr>
              <a:t>продукти</a:t>
            </a:r>
            <a:r>
              <a:rPr lang="en-US" altLang="de-DE" b="1" dirty="0">
                <a:solidFill>
                  <a:srgbClr val="FFFFFF"/>
                </a:solidFill>
                <a:latin typeface="Calibri"/>
              </a:rPr>
              <a:t/>
            </a:r>
            <a:br>
              <a:rPr lang="en-US" altLang="de-DE" b="1" dirty="0">
                <a:solidFill>
                  <a:srgbClr val="FFFFFF"/>
                </a:solidFill>
                <a:latin typeface="Calibri"/>
              </a:rPr>
            </a:br>
            <a:r>
              <a:rPr lang="en-US" altLang="de-DE" b="1" dirty="0">
                <a:solidFill>
                  <a:srgbClr val="FFFFFF"/>
                </a:solidFill>
                <a:latin typeface="Calibri"/>
              </a:rPr>
              <a:t>Made</a:t>
            </a:r>
            <a:br>
              <a:rPr lang="en-US" altLang="de-DE" b="1" dirty="0">
                <a:solidFill>
                  <a:srgbClr val="FFFFFF"/>
                </a:solidFill>
                <a:latin typeface="Calibri"/>
              </a:rPr>
            </a:br>
            <a:r>
              <a:rPr lang="en-US" altLang="de-DE" b="1" dirty="0">
                <a:solidFill>
                  <a:srgbClr val="FFFFFF"/>
                </a:solidFill>
                <a:latin typeface="Calibri"/>
              </a:rPr>
              <a:t>in Germany</a:t>
            </a:r>
          </a:p>
        </p:txBody>
      </p:sp>
      <p:grpSp>
        <p:nvGrpSpPr>
          <p:cNvPr id="23" name="Gruppieren 9"/>
          <p:cNvGrpSpPr>
            <a:grpSpLocks noChangeAspect="1"/>
          </p:cNvGrpSpPr>
          <p:nvPr/>
        </p:nvGrpSpPr>
        <p:grpSpPr>
          <a:xfrm>
            <a:off x="294227" y="3207701"/>
            <a:ext cx="3355709" cy="3621580"/>
            <a:chOff x="278740" y="3114248"/>
            <a:chExt cx="1482725" cy="16002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4" name="Rechteck 6"/>
            <p:cNvSpPr/>
            <p:nvPr/>
          </p:nvSpPr>
          <p:spPr>
            <a:xfrm>
              <a:off x="278740" y="3114248"/>
              <a:ext cx="1482725" cy="16002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</a:endParaRPr>
            </a:p>
          </p:txBody>
        </p:sp>
        <p:grpSp>
          <p:nvGrpSpPr>
            <p:cNvPr id="25" name="Gruppieren 8"/>
            <p:cNvGrpSpPr/>
            <p:nvPr/>
          </p:nvGrpSpPr>
          <p:grpSpPr>
            <a:xfrm>
              <a:off x="622670" y="3165659"/>
              <a:ext cx="794866" cy="1497378"/>
              <a:chOff x="582147" y="3217069"/>
              <a:chExt cx="794866" cy="1497378"/>
            </a:xfrm>
          </p:grpSpPr>
          <p:pic>
            <p:nvPicPr>
              <p:cNvPr id="26" name="Picture 37"/>
              <p:cNvPicPr>
                <a:picLocks noChangeAspect="1" noChangeArrowheads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82147" y="3217069"/>
                <a:ext cx="794866" cy="544015"/>
              </a:xfrm>
              <a:prstGeom prst="rect">
                <a:avLst/>
              </a:prstGeom>
              <a:noFill/>
              <a:ln w="9525">
                <a:solidFill>
                  <a:srgbClr val="012E55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7" name="Picture 38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2147" y="3824196"/>
                <a:ext cx="794866" cy="890251"/>
              </a:xfrm>
              <a:prstGeom prst="rect">
                <a:avLst/>
              </a:prstGeom>
              <a:noFill/>
              <a:ln w="9525">
                <a:solidFill>
                  <a:srgbClr val="012E55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10380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Afx6I1wUizOe5eqUCX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LR Health &amp; Beauty">
  <a:themeElements>
    <a:clrScheme name="LR neu2">
      <a:dk1>
        <a:sysClr val="windowText" lastClr="000000"/>
      </a:dk1>
      <a:lt1>
        <a:sysClr val="window" lastClr="FFFFFF"/>
      </a:lt1>
      <a:dk2>
        <a:srgbClr val="DCDCDC"/>
      </a:dk2>
      <a:lt2>
        <a:srgbClr val="B9B9B9"/>
      </a:lt2>
      <a:accent1>
        <a:srgbClr val="83B390"/>
      </a:accent1>
      <a:accent2>
        <a:srgbClr val="29C2B5"/>
      </a:accent2>
      <a:accent3>
        <a:srgbClr val="9ED6E0"/>
      </a:accent3>
      <a:accent4>
        <a:srgbClr val="ABC785"/>
      </a:accent4>
      <a:accent5>
        <a:srgbClr val="00AAEE"/>
      </a:accent5>
      <a:accent6>
        <a:srgbClr val="E30450"/>
      </a:accent6>
      <a:hlink>
        <a:srgbClr val="9ED6E0"/>
      </a:hlink>
      <a:folHlink>
        <a:srgbClr val="ABC785"/>
      </a:folHlink>
    </a:clrScheme>
    <a:fontScheme name="LR ne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151007_LR Baseform_v2_END fnf.potx" id="{40FF9028-07FF-41F1-9E17-741C2722F692}" vid="{F5333FF0-261D-4AD0-A653-92CDA1ED4412}"/>
    </a:ext>
  </a:extLst>
</a:theme>
</file>

<file path=ppt/theme/theme2.xml><?xml version="1.0" encoding="utf-8"?>
<a:theme xmlns:a="http://schemas.openxmlformats.org/drawingml/2006/main" name="Vorlage PPT LRGKF_161009">
  <a:themeElements>
    <a:clrScheme name="LRGKF 1">
      <a:dk1>
        <a:srgbClr val="000000"/>
      </a:dk1>
      <a:lt1>
        <a:srgbClr val="FEFFFF"/>
      </a:lt1>
      <a:dk2>
        <a:srgbClr val="CCB7C7"/>
      </a:dk2>
      <a:lt2>
        <a:srgbClr val="E7E6E6"/>
      </a:lt2>
      <a:accent1>
        <a:srgbClr val="6A205E"/>
      </a:accent1>
      <a:accent2>
        <a:srgbClr val="CCB7C7"/>
      </a:accent2>
      <a:accent3>
        <a:srgbClr val="F8B221"/>
      </a:accent3>
      <a:accent4>
        <a:srgbClr val="93B691"/>
      </a:accent4>
      <a:accent5>
        <a:srgbClr val="0090B6"/>
      </a:accent5>
      <a:accent6>
        <a:srgbClr val="78686D"/>
      </a:accent6>
      <a:hlink>
        <a:srgbClr val="6A205E"/>
      </a:hlink>
      <a:folHlink>
        <a:srgbClr val="DDCEDA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Vorlage PPT LRGKF_neu" id="{3DC6752D-F7BC-D047-91B1-E07F61E4E8F7}" vid="{79C54623-7B09-8042-9D4D-33EF9B33D3B6}"/>
    </a:ext>
  </a:extLst>
</a:theme>
</file>

<file path=ppt/theme/theme3.xml><?xml version="1.0" encoding="utf-8"?>
<a:theme xmlns:a="http://schemas.openxmlformats.org/drawingml/2006/main" name="Inhaltsfolien">
  <a:themeElements>
    <a:clrScheme name="Benutzerdefiniert 1">
      <a:dk1>
        <a:srgbClr val="000000"/>
      </a:dk1>
      <a:lt1>
        <a:srgbClr val="FFFFFF"/>
      </a:lt1>
      <a:dk2>
        <a:srgbClr val="CCB6C7"/>
      </a:dk2>
      <a:lt2>
        <a:srgbClr val="FFFDFD"/>
      </a:lt2>
      <a:accent1>
        <a:srgbClr val="6B205E"/>
      </a:accent1>
      <a:accent2>
        <a:srgbClr val="CCB6C7"/>
      </a:accent2>
      <a:accent3>
        <a:srgbClr val="F8B321"/>
      </a:accent3>
      <a:accent4>
        <a:srgbClr val="93B691"/>
      </a:accent4>
      <a:accent5>
        <a:srgbClr val="93B691"/>
      </a:accent5>
      <a:accent6>
        <a:srgbClr val="0090B6"/>
      </a:accent6>
      <a:hlink>
        <a:srgbClr val="0563C1"/>
      </a:hlink>
      <a:folHlink>
        <a:srgbClr val="912E8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Vorlage PPT LRGKF_neu" id="{3DC6752D-F7BC-D047-91B1-E07F61E4E8F7}" vid="{E6E68DCE-EC74-9046-83D0-AA5144CB8B2A}"/>
    </a:ext>
  </a:extLst>
</a:theme>
</file>

<file path=ppt/theme/theme4.xml><?xml version="1.0" encoding="utf-8"?>
<a:theme xmlns:a="http://schemas.openxmlformats.org/drawingml/2006/main" name="1_Schlussfolie">
  <a:themeElements>
    <a:clrScheme name="LRGKF – Farbpalette">
      <a:dk1>
        <a:srgbClr val="6B205E"/>
      </a:dk1>
      <a:lt1>
        <a:srgbClr val="FFFFFF"/>
      </a:lt1>
      <a:dk2>
        <a:srgbClr val="CCB6C7"/>
      </a:dk2>
      <a:lt2>
        <a:srgbClr val="FFFDFD"/>
      </a:lt2>
      <a:accent1>
        <a:srgbClr val="6B205E"/>
      </a:accent1>
      <a:accent2>
        <a:srgbClr val="CCB6C7"/>
      </a:accent2>
      <a:accent3>
        <a:srgbClr val="F8B321"/>
      </a:accent3>
      <a:accent4>
        <a:srgbClr val="93B691"/>
      </a:accent4>
      <a:accent5>
        <a:srgbClr val="93B691"/>
      </a:accent5>
      <a:accent6>
        <a:srgbClr val="0090B6"/>
      </a:accent6>
      <a:hlink>
        <a:srgbClr val="0563C1"/>
      </a:hlink>
      <a:folHlink>
        <a:srgbClr val="912E80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Vorlage PPT LRGKF_neu" id="{3DC6752D-F7BC-D047-91B1-E07F61E4E8F7}" vid="{947BD8BB-ECD4-8B4E-8F32-AEA6622E7887}"/>
    </a:ext>
  </a:extLst>
</a:theme>
</file>

<file path=ppt/theme/theme5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FFFFFF"/>
      </a:dk2>
      <a:lt2>
        <a:srgbClr val="969696"/>
      </a:lt2>
      <a:accent1>
        <a:srgbClr val="EAEAEA"/>
      </a:accent1>
      <a:accent2>
        <a:srgbClr val="C0C0C0"/>
      </a:accent2>
      <a:accent3>
        <a:srgbClr val="FFFFFF"/>
      </a:accent3>
      <a:accent4>
        <a:srgbClr val="000000"/>
      </a:accent4>
      <a:accent5>
        <a:srgbClr val="F3F3F3"/>
      </a:accent5>
      <a:accent6>
        <a:srgbClr val="AEAEAE"/>
      </a:accent6>
      <a:hlink>
        <a:srgbClr val="CC0000"/>
      </a:hlink>
      <a:folHlink>
        <a:srgbClr val="808080"/>
      </a:folHlink>
    </a:clrScheme>
    <a:fontScheme name="Standarddesign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FFFF"/>
        </a:dk2>
        <a:lt2>
          <a:srgbClr val="969696"/>
        </a:lt2>
        <a:accent1>
          <a:srgbClr val="EAEAEA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AEAEAE"/>
        </a:accent6>
        <a:hlink>
          <a:srgbClr val="CC00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7</TotalTime>
  <Words>532</Words>
  <Application>Microsoft Office PowerPoint</Application>
  <PresentationFormat>On-screen Show (4:3)</PresentationFormat>
  <Paragraphs>217</Paragraphs>
  <Slides>28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3_LR Health &amp; Beauty</vt:lpstr>
      <vt:lpstr>Vorlage PPT LRGKF_161009</vt:lpstr>
      <vt:lpstr>Inhaltsfolien</vt:lpstr>
      <vt:lpstr>1_Schlussfolie</vt:lpstr>
      <vt:lpstr>Standarddesign</vt:lpstr>
      <vt:lpstr>think-cell Folie</vt:lpstr>
      <vt:lpstr>PowerPoint Presentation</vt:lpstr>
      <vt:lpstr>Мисията на LR е да даде повече качество на всеки живот, до който се докосне</vt:lpstr>
      <vt:lpstr>PowerPoint Presentation</vt:lpstr>
      <vt:lpstr>PowerPoint Presentation</vt:lpstr>
      <vt:lpstr>PowerPoint Presentation</vt:lpstr>
      <vt:lpstr>ЗВЕЗДИ &amp; ПАРФЮМИ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Историческо развитие на системата за възнаграждение</vt:lpstr>
      <vt:lpstr>PowerPoint Presentation</vt:lpstr>
      <vt:lpstr>LR концепция за автомобили </vt:lpstr>
      <vt:lpstr>PowerPoint Presentation</vt:lpstr>
      <vt:lpstr>PowerPoint Presentation</vt:lpstr>
      <vt:lpstr>LR Academy</vt:lpstr>
      <vt:lpstr>PowerPoint Presentation</vt:lpstr>
      <vt:lpstr>Всеки един от нас е част от голямата идея</vt:lpstr>
      <vt:lpstr>Мъже и жени, млади и стари, всички религии, всякакво образование… ВСЕКИ МОЖЕ ДА УСПЕЕ С LR!</vt:lpstr>
      <vt:lpstr>Нужно е само да дадем своята заявка за УСПЕХ!</vt:lpstr>
      <vt:lpstr>PowerPoint Presentation</vt:lpstr>
      <vt:lpstr>Нужни са труд, усилия и постоянство, но формулата е ясна и доказана!</vt:lpstr>
      <vt:lpstr>Работата в екип е нашата сила</vt:lpstr>
      <vt:lpstr>LR дава един истински шанс за успех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rova, Denitsa</dc:creator>
  <cp:lastModifiedBy>Valeva, Elena</cp:lastModifiedBy>
  <cp:revision>69</cp:revision>
  <dcterms:created xsi:type="dcterms:W3CDTF">2017-06-20T08:59:00Z</dcterms:created>
  <dcterms:modified xsi:type="dcterms:W3CDTF">2017-11-22T12:57:57Z</dcterms:modified>
</cp:coreProperties>
</file>